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58" r:id="rId3"/>
    <p:sldId id="260" r:id="rId4"/>
    <p:sldId id="335" r:id="rId5"/>
    <p:sldId id="261" r:id="rId6"/>
    <p:sldId id="332" r:id="rId7"/>
    <p:sldId id="276" r:id="rId8"/>
    <p:sldId id="324" r:id="rId9"/>
    <p:sldId id="327" r:id="rId10"/>
    <p:sldId id="330" r:id="rId11"/>
    <p:sldId id="329" r:id="rId12"/>
    <p:sldId id="333" r:id="rId13"/>
    <p:sldId id="264" r:id="rId14"/>
    <p:sldId id="263" r:id="rId15"/>
    <p:sldId id="331" r:id="rId16"/>
    <p:sldId id="262" r:id="rId17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0DC"/>
    <a:srgbClr val="FEFAEC"/>
    <a:srgbClr val="F38181"/>
    <a:srgbClr val="625772"/>
    <a:srgbClr val="F54545"/>
    <a:srgbClr val="9DC3E6"/>
    <a:srgbClr val="ABCCE3"/>
    <a:srgbClr val="9DB6DF"/>
    <a:srgbClr val="FA9C9C"/>
    <a:srgbClr val="D082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96" y="6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7F8219-454F-485C-8AFE-10D3575A5A0B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FA0377BF-3723-4547-A593-C2DEF6E71B05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4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메인</a:t>
          </a:r>
        </a:p>
      </dgm:t>
    </dgm:pt>
    <dgm:pt modelId="{3BD98907-470F-4A05-A4AE-186808CFF300}" type="parTrans" cxnId="{15FCC4FA-13AD-4287-A73E-49F54E74EB5D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0E4A902D-66FB-416F-9D46-71D94BFCCF18}" type="sibTrans" cxnId="{15FCC4FA-13AD-4287-A73E-49F54E74EB5D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79684E3C-387B-4ADB-AB7C-B53D77837138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로그인</a:t>
          </a:r>
        </a:p>
      </dgm:t>
    </dgm:pt>
    <dgm:pt modelId="{95797103-B1A8-4679-8F45-A6AF5F03144B}" type="parTrans" cxnId="{3781BD3B-5B1B-4E8F-832E-021940F16775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537B8FCC-493B-462B-8C06-C2799DC663FD}" type="sibTrans" cxnId="{3781BD3B-5B1B-4E8F-832E-021940F16775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EB0F22B4-9F9B-4C1E-AD82-EE8114AE25B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gm:t>
    </dgm:pt>
    <dgm:pt modelId="{801401B0-6182-48B5-A617-080866C4E8F0}" type="parTrans" cxnId="{F088CF13-479B-40DD-8362-0131689111C2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4D43C86A-6B1F-40E5-A1B4-A6CE6FD21D93}" type="sibTrans" cxnId="{F088CF13-479B-40DD-8362-0131689111C2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98EDA513-7261-4A19-AE42-473C08C8A663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레시피</a:t>
          </a:r>
        </a:p>
      </dgm:t>
    </dgm:pt>
    <dgm:pt modelId="{0601685D-FA86-4662-AC99-AF2D6E9C69A3}" type="parTrans" cxnId="{6CD11047-E4EA-415F-BEF1-F7CD7B02F4C1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F1D4D817-6E25-47C4-A5B9-46B85C997346}" type="sibTrans" cxnId="{6CD11047-E4EA-415F-BEF1-F7CD7B02F4C1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38F9A1EA-F5A4-4D76-A43F-40381CDADD4E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gm:t>
    </dgm:pt>
    <dgm:pt modelId="{13B137D7-0C98-4196-B56D-A6FE871BB242}" type="parTrans" cxnId="{32E42CDE-C0BE-402A-8BDE-78118DAB2E8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DE607334-7756-44E9-B7BE-6B82F54AC9E7}" type="sibTrans" cxnId="{32E42CDE-C0BE-402A-8BDE-78118DAB2E84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1B40F55D-11AC-45F4-8D8B-F861500A459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gm:t>
    </dgm:pt>
    <dgm:pt modelId="{04F223E3-7976-49EE-B742-2E8228AE8099}" type="parTrans" cxnId="{F8111E5D-6CDE-4367-9799-B9C9812F49CA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44D27B0C-ECE4-458B-8F3F-10D855F7699E}" type="sibTrans" cxnId="{F8111E5D-6CDE-4367-9799-B9C9812F49CA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8E99DEA-361B-4822-BBC8-F13C9550E827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가입</a:t>
          </a:r>
        </a:p>
      </dgm:t>
    </dgm:pt>
    <dgm:pt modelId="{00BFF466-E86D-494E-B8D0-18CD213DD183}" type="parTrans" cxnId="{E5DC7CBA-51BD-4D04-84D6-B54680A45B95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15A15779-22A4-4FCA-BFD1-86F6105283C5}" type="sibTrans" cxnId="{E5DC7CBA-51BD-4D04-84D6-B54680A45B95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8E3C376-0A50-4F59-B8E7-09FA6C4FC0C7}" type="asst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고객의 소리</a:t>
          </a:r>
        </a:p>
      </dgm:t>
    </dgm:pt>
    <dgm:pt modelId="{A16E13AF-5DC2-489D-A327-2A1667AAFEB9}" type="parTrans" cxnId="{DC06A2A4-6D39-4AEB-9DDF-76D6FD50D23C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EBF56BC4-CCA8-4806-91D4-1B6B41BE876C}" type="sibTrans" cxnId="{DC06A2A4-6D39-4AEB-9DDF-76D6FD50D23C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B15DFB89-092C-4029-B1D9-5CDCAFE4381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서브메뉴</a:t>
          </a:r>
        </a:p>
      </dgm:t>
    </dgm:pt>
    <dgm:pt modelId="{2E23A815-C8B0-4706-8600-07784481068A}" type="parTrans" cxnId="{93CCE852-89CE-4504-A682-47ED689F7330}">
      <dgm:prSet/>
      <dgm:spPr>
        <a:solidFill>
          <a:srgbClr val="625772"/>
        </a:solidFill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2DD9A87C-51A9-409B-8D90-FCCBF184B912}" type="sibTrans" cxnId="{93CCE852-89CE-4504-A682-47ED689F7330}">
      <dgm:prSet/>
      <dgm:spPr/>
      <dgm:t>
        <a:bodyPr/>
        <a:lstStyle/>
        <a:p>
          <a:pPr latinLnBrk="1"/>
          <a:endParaRPr lang="ko-KR" altLang="en-US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6CCD6CB6-29E3-450C-98F1-F75FF3B77462}" type="pres">
      <dgm:prSet presAssocID="{0C7F8219-454F-485C-8AFE-10D3575A5A0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53DDE5E-D3F7-4F51-9EF7-795F3492FA3B}" type="pres">
      <dgm:prSet presAssocID="{FA0377BF-3723-4547-A593-C2DEF6E71B05}" presName="hierRoot1" presStyleCnt="0">
        <dgm:presLayoutVars>
          <dgm:hierBranch val="init"/>
        </dgm:presLayoutVars>
      </dgm:prSet>
      <dgm:spPr/>
    </dgm:pt>
    <dgm:pt modelId="{1C8722B1-4B17-4344-888C-FBC5DF5B7DEF}" type="pres">
      <dgm:prSet presAssocID="{FA0377BF-3723-4547-A593-C2DEF6E71B05}" presName="rootComposite1" presStyleCnt="0"/>
      <dgm:spPr/>
    </dgm:pt>
    <dgm:pt modelId="{4AE2AA96-355F-40E2-9C5E-827AEC66DDD3}" type="pres">
      <dgm:prSet presAssocID="{FA0377BF-3723-4547-A593-C2DEF6E71B05}" presName="rootText1" presStyleLbl="node0" presStyleIdx="0" presStyleCnt="1" custScaleX="104118" custScaleY="93688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B905F368-E73B-4E89-B4F1-91A83B97F987}" type="pres">
      <dgm:prSet presAssocID="{FA0377BF-3723-4547-A593-C2DEF6E71B05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2F13AF01-C28A-4DBE-B1AF-C4280F8E1ED6}" type="pres">
      <dgm:prSet presAssocID="{FA0377BF-3723-4547-A593-C2DEF6E71B05}" presName="hierChild2" presStyleCnt="0"/>
      <dgm:spPr/>
    </dgm:pt>
    <dgm:pt modelId="{0BAE0489-87A6-4494-8955-BBE2980E6038}" type="pres">
      <dgm:prSet presAssocID="{801401B0-6182-48B5-A617-080866C4E8F0}" presName="Name37" presStyleLbl="parChTrans1D2" presStyleIdx="0" presStyleCnt="8"/>
      <dgm:spPr/>
      <dgm:t>
        <a:bodyPr/>
        <a:lstStyle/>
        <a:p>
          <a:pPr latinLnBrk="1"/>
          <a:endParaRPr lang="ko-KR" altLang="en-US"/>
        </a:p>
      </dgm:t>
    </dgm:pt>
    <dgm:pt modelId="{38F6BCFC-999F-4E9D-A167-EC640ADAAE6E}" type="pres">
      <dgm:prSet presAssocID="{EB0F22B4-9F9B-4C1E-AD82-EE8114AE25BC}" presName="hierRoot2" presStyleCnt="0">
        <dgm:presLayoutVars>
          <dgm:hierBranch val="init"/>
        </dgm:presLayoutVars>
      </dgm:prSet>
      <dgm:spPr/>
    </dgm:pt>
    <dgm:pt modelId="{10F021B3-E759-4849-B307-15F5FB90ABCC}" type="pres">
      <dgm:prSet presAssocID="{EB0F22B4-9F9B-4C1E-AD82-EE8114AE25BC}" presName="rootComposite" presStyleCnt="0"/>
      <dgm:spPr/>
    </dgm:pt>
    <dgm:pt modelId="{D38ADBEA-2467-4A72-BED6-41F8A402BF79}" type="pres">
      <dgm:prSet presAssocID="{EB0F22B4-9F9B-4C1E-AD82-EE8114AE25BC}" presName="rootText" presStyleLbl="node2" presStyleIdx="0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F29DFF11-D431-40DD-B6ED-1FCA765E538A}" type="pres">
      <dgm:prSet presAssocID="{EB0F22B4-9F9B-4C1E-AD82-EE8114AE25BC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13912B9B-2315-494A-8AEC-926C80FAF7EA}" type="pres">
      <dgm:prSet presAssocID="{EB0F22B4-9F9B-4C1E-AD82-EE8114AE25BC}" presName="hierChild4" presStyleCnt="0"/>
      <dgm:spPr/>
    </dgm:pt>
    <dgm:pt modelId="{46DA77E2-A54F-46A0-A9F4-25B13B5C6A29}" type="pres">
      <dgm:prSet presAssocID="{EB0F22B4-9F9B-4C1E-AD82-EE8114AE25BC}" presName="hierChild5" presStyleCnt="0"/>
      <dgm:spPr/>
    </dgm:pt>
    <dgm:pt modelId="{47902175-DFC9-4C14-8763-8687DAB27D38}" type="pres">
      <dgm:prSet presAssocID="{0601685D-FA86-4662-AC99-AF2D6E9C69A3}" presName="Name37" presStyleLbl="parChTrans1D2" presStyleIdx="1" presStyleCnt="8"/>
      <dgm:spPr/>
      <dgm:t>
        <a:bodyPr/>
        <a:lstStyle/>
        <a:p>
          <a:pPr latinLnBrk="1"/>
          <a:endParaRPr lang="ko-KR" altLang="en-US"/>
        </a:p>
      </dgm:t>
    </dgm:pt>
    <dgm:pt modelId="{8B7DED9A-E63F-436E-8247-3AC67C1F3F64}" type="pres">
      <dgm:prSet presAssocID="{98EDA513-7261-4A19-AE42-473C08C8A663}" presName="hierRoot2" presStyleCnt="0">
        <dgm:presLayoutVars>
          <dgm:hierBranch val="init"/>
        </dgm:presLayoutVars>
      </dgm:prSet>
      <dgm:spPr/>
    </dgm:pt>
    <dgm:pt modelId="{5224C9F1-A1E7-41CA-8D88-3D7D246E7401}" type="pres">
      <dgm:prSet presAssocID="{98EDA513-7261-4A19-AE42-473C08C8A663}" presName="rootComposite" presStyleCnt="0"/>
      <dgm:spPr/>
    </dgm:pt>
    <dgm:pt modelId="{10BF6A9E-6169-4797-9790-CA387508D5AE}" type="pres">
      <dgm:prSet presAssocID="{98EDA513-7261-4A19-AE42-473C08C8A663}" presName="rootText" presStyleLbl="node2" presStyleIdx="1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1A2DFF9C-1EBD-49F3-B1E4-80DCCEEE4451}" type="pres">
      <dgm:prSet presAssocID="{98EDA513-7261-4A19-AE42-473C08C8A663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6EF2E893-FB7A-4F4D-AD7B-95CF260B4F65}" type="pres">
      <dgm:prSet presAssocID="{98EDA513-7261-4A19-AE42-473C08C8A663}" presName="hierChild4" presStyleCnt="0"/>
      <dgm:spPr/>
    </dgm:pt>
    <dgm:pt modelId="{E19D2888-9005-4235-85FC-FD58D1E766D6}" type="pres">
      <dgm:prSet presAssocID="{98EDA513-7261-4A19-AE42-473C08C8A663}" presName="hierChild5" presStyleCnt="0"/>
      <dgm:spPr/>
    </dgm:pt>
    <dgm:pt modelId="{073395A4-90E1-46AC-B7EE-01199A7143C8}" type="pres">
      <dgm:prSet presAssocID="{13B137D7-0C98-4196-B56D-A6FE871BB242}" presName="Name37" presStyleLbl="parChTrans1D2" presStyleIdx="2" presStyleCnt="8"/>
      <dgm:spPr/>
      <dgm:t>
        <a:bodyPr/>
        <a:lstStyle/>
        <a:p>
          <a:pPr latinLnBrk="1"/>
          <a:endParaRPr lang="ko-KR" altLang="en-US"/>
        </a:p>
      </dgm:t>
    </dgm:pt>
    <dgm:pt modelId="{620D520F-2AF8-41EA-98CE-A61B2545FDEB}" type="pres">
      <dgm:prSet presAssocID="{38F9A1EA-F5A4-4D76-A43F-40381CDADD4E}" presName="hierRoot2" presStyleCnt="0">
        <dgm:presLayoutVars>
          <dgm:hierBranch val="init"/>
        </dgm:presLayoutVars>
      </dgm:prSet>
      <dgm:spPr/>
    </dgm:pt>
    <dgm:pt modelId="{05BF6F4F-DA16-4B45-BEC7-E29E5F496B20}" type="pres">
      <dgm:prSet presAssocID="{38F9A1EA-F5A4-4D76-A43F-40381CDADD4E}" presName="rootComposite" presStyleCnt="0"/>
      <dgm:spPr/>
    </dgm:pt>
    <dgm:pt modelId="{9208F54D-27B9-4136-92F5-2328221D9B9A}" type="pres">
      <dgm:prSet presAssocID="{38F9A1EA-F5A4-4D76-A43F-40381CDADD4E}" presName="rootText" presStyleLbl="node2" presStyleIdx="2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7AFDF592-57A6-4D45-96C9-D57FF854059D}" type="pres">
      <dgm:prSet presAssocID="{38F9A1EA-F5A4-4D76-A43F-40381CDADD4E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84D013B5-A38D-4F72-892B-CDB6600E1D72}" type="pres">
      <dgm:prSet presAssocID="{38F9A1EA-F5A4-4D76-A43F-40381CDADD4E}" presName="hierChild4" presStyleCnt="0"/>
      <dgm:spPr/>
    </dgm:pt>
    <dgm:pt modelId="{0699F3B6-E1AB-4D6F-A3C5-7B0614FB6687}" type="pres">
      <dgm:prSet presAssocID="{38F9A1EA-F5A4-4D76-A43F-40381CDADD4E}" presName="hierChild5" presStyleCnt="0"/>
      <dgm:spPr/>
    </dgm:pt>
    <dgm:pt modelId="{FBFB9173-B0A9-4AED-8FC5-D17C5AB997C2}" type="pres">
      <dgm:prSet presAssocID="{04F223E3-7976-49EE-B742-2E8228AE8099}" presName="Name37" presStyleLbl="parChTrans1D2" presStyleIdx="3" presStyleCnt="8"/>
      <dgm:spPr/>
      <dgm:t>
        <a:bodyPr/>
        <a:lstStyle/>
        <a:p>
          <a:pPr latinLnBrk="1"/>
          <a:endParaRPr lang="ko-KR" altLang="en-US"/>
        </a:p>
      </dgm:t>
    </dgm:pt>
    <dgm:pt modelId="{151DB046-3074-4211-90B3-9B8401EA1BB6}" type="pres">
      <dgm:prSet presAssocID="{1B40F55D-11AC-45F4-8D8B-F861500A459F}" presName="hierRoot2" presStyleCnt="0">
        <dgm:presLayoutVars>
          <dgm:hierBranch val="init"/>
        </dgm:presLayoutVars>
      </dgm:prSet>
      <dgm:spPr/>
    </dgm:pt>
    <dgm:pt modelId="{3024E02C-92FE-4B03-A8D1-A0507405C57E}" type="pres">
      <dgm:prSet presAssocID="{1B40F55D-11AC-45F4-8D8B-F861500A459F}" presName="rootComposite" presStyleCnt="0"/>
      <dgm:spPr/>
    </dgm:pt>
    <dgm:pt modelId="{19C8F406-FEF9-4A93-A56C-60F1F010C087}" type="pres">
      <dgm:prSet presAssocID="{1B40F55D-11AC-45F4-8D8B-F861500A459F}" presName="rootText" presStyleLbl="node2" presStyleIdx="3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4C00D07-55FE-4EA9-A8EA-F757B3600EF7}" type="pres">
      <dgm:prSet presAssocID="{1B40F55D-11AC-45F4-8D8B-F861500A459F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44A6C007-C803-4388-8492-EBB2B7B6CE84}" type="pres">
      <dgm:prSet presAssocID="{1B40F55D-11AC-45F4-8D8B-F861500A459F}" presName="hierChild4" presStyleCnt="0"/>
      <dgm:spPr/>
    </dgm:pt>
    <dgm:pt modelId="{1954284A-8022-4E52-BD3A-5C657A5490CE}" type="pres">
      <dgm:prSet presAssocID="{1B40F55D-11AC-45F4-8D8B-F861500A459F}" presName="hierChild5" presStyleCnt="0"/>
      <dgm:spPr/>
    </dgm:pt>
    <dgm:pt modelId="{0E2A30CB-C78B-4A2F-9A34-72FC2572DDBE}" type="pres">
      <dgm:prSet presAssocID="{2E23A815-C8B0-4706-8600-07784481068A}" presName="Name37" presStyleLbl="parChTrans1D2" presStyleIdx="4" presStyleCnt="8"/>
      <dgm:spPr/>
      <dgm:t>
        <a:bodyPr/>
        <a:lstStyle/>
        <a:p>
          <a:pPr latinLnBrk="1"/>
          <a:endParaRPr lang="ko-KR" altLang="en-US"/>
        </a:p>
      </dgm:t>
    </dgm:pt>
    <dgm:pt modelId="{DD7A968E-CE94-409A-BF13-BA36F6057DAE}" type="pres">
      <dgm:prSet presAssocID="{B15DFB89-092C-4029-B1D9-5CDCAFE4381F}" presName="hierRoot2" presStyleCnt="0">
        <dgm:presLayoutVars>
          <dgm:hierBranch val="init"/>
        </dgm:presLayoutVars>
      </dgm:prSet>
      <dgm:spPr/>
    </dgm:pt>
    <dgm:pt modelId="{1EF8521B-7F21-484B-A97C-D1D2A8A6FA27}" type="pres">
      <dgm:prSet presAssocID="{B15DFB89-092C-4029-B1D9-5CDCAFE4381F}" presName="rootComposite" presStyleCnt="0"/>
      <dgm:spPr/>
    </dgm:pt>
    <dgm:pt modelId="{1CB8372E-D491-482E-A78F-4BFFD3E950FA}" type="pres">
      <dgm:prSet presAssocID="{B15DFB89-092C-4029-B1D9-5CDCAFE4381F}" presName="rootText" presStyleLbl="node2" presStyleIdx="4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6B919826-309F-4C37-91FC-6C38B1B1B5E4}" type="pres">
      <dgm:prSet presAssocID="{B15DFB89-092C-4029-B1D9-5CDCAFE4381F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0651A1B9-E1BD-48F8-89C3-9EA15C626078}" type="pres">
      <dgm:prSet presAssocID="{B15DFB89-092C-4029-B1D9-5CDCAFE4381F}" presName="hierChild4" presStyleCnt="0"/>
      <dgm:spPr/>
    </dgm:pt>
    <dgm:pt modelId="{3DF98E88-B7F4-4AA8-A194-3DD9BDD1C13E}" type="pres">
      <dgm:prSet presAssocID="{B15DFB89-092C-4029-B1D9-5CDCAFE4381F}" presName="hierChild5" presStyleCnt="0"/>
      <dgm:spPr/>
    </dgm:pt>
    <dgm:pt modelId="{BBC6EE19-9816-4791-A085-F88E8C64753C}" type="pres">
      <dgm:prSet presAssocID="{FA0377BF-3723-4547-A593-C2DEF6E71B05}" presName="hierChild3" presStyleCnt="0"/>
      <dgm:spPr/>
    </dgm:pt>
    <dgm:pt modelId="{11A90BCC-8CEA-4117-9923-C6A6BEBF033D}" type="pres">
      <dgm:prSet presAssocID="{95797103-B1A8-4679-8F45-A6AF5F03144B}" presName="Name111" presStyleLbl="parChTrans1D2" presStyleIdx="5" presStyleCnt="8"/>
      <dgm:spPr/>
      <dgm:t>
        <a:bodyPr/>
        <a:lstStyle/>
        <a:p>
          <a:pPr latinLnBrk="1"/>
          <a:endParaRPr lang="ko-KR" altLang="en-US"/>
        </a:p>
      </dgm:t>
    </dgm:pt>
    <dgm:pt modelId="{B4BCBD3D-B5DD-493F-8B08-A927448A05DA}" type="pres">
      <dgm:prSet presAssocID="{79684E3C-387B-4ADB-AB7C-B53D77837138}" presName="hierRoot3" presStyleCnt="0">
        <dgm:presLayoutVars>
          <dgm:hierBranch val="init"/>
        </dgm:presLayoutVars>
      </dgm:prSet>
      <dgm:spPr/>
    </dgm:pt>
    <dgm:pt modelId="{D2741459-259F-448E-A411-EC5C5330EE8B}" type="pres">
      <dgm:prSet presAssocID="{79684E3C-387B-4ADB-AB7C-B53D77837138}" presName="rootComposite3" presStyleCnt="0"/>
      <dgm:spPr/>
    </dgm:pt>
    <dgm:pt modelId="{F72D2F8C-9CA9-4274-BF02-1C1733DAA018}" type="pres">
      <dgm:prSet presAssocID="{79684E3C-387B-4ADB-AB7C-B53D77837138}" presName="rootText3" presStyleLbl="asst1" presStyleIdx="0" presStyleCnt="3" custLinFactX="53256" custLinFactNeighborX="100000" custLinFactNeighborY="-959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257BE9A-520E-4677-9323-B13C5EC983CB}" type="pres">
      <dgm:prSet presAssocID="{79684E3C-387B-4ADB-AB7C-B53D77837138}" presName="rootConnector3" presStyleLbl="asst1" presStyleIdx="0" presStyleCnt="3"/>
      <dgm:spPr/>
      <dgm:t>
        <a:bodyPr/>
        <a:lstStyle/>
        <a:p>
          <a:pPr latinLnBrk="1"/>
          <a:endParaRPr lang="ko-KR" altLang="en-US"/>
        </a:p>
      </dgm:t>
    </dgm:pt>
    <dgm:pt modelId="{95F74C15-25D3-4C03-8174-C334ADCE75D3}" type="pres">
      <dgm:prSet presAssocID="{79684E3C-387B-4ADB-AB7C-B53D77837138}" presName="hierChild6" presStyleCnt="0"/>
      <dgm:spPr/>
    </dgm:pt>
    <dgm:pt modelId="{A77864DF-A77D-460F-9603-2919143ACFD5}" type="pres">
      <dgm:prSet presAssocID="{79684E3C-387B-4ADB-AB7C-B53D77837138}" presName="hierChild7" presStyleCnt="0"/>
      <dgm:spPr/>
    </dgm:pt>
    <dgm:pt modelId="{1BA49767-0047-4448-93B2-AFD4B058483F}" type="pres">
      <dgm:prSet presAssocID="{00BFF466-E86D-494E-B8D0-18CD213DD183}" presName="Name111" presStyleLbl="parChTrans1D2" presStyleIdx="6" presStyleCnt="8"/>
      <dgm:spPr/>
      <dgm:t>
        <a:bodyPr/>
        <a:lstStyle/>
        <a:p>
          <a:pPr latinLnBrk="1"/>
          <a:endParaRPr lang="ko-KR" altLang="en-US"/>
        </a:p>
      </dgm:t>
    </dgm:pt>
    <dgm:pt modelId="{A3A48ABF-8B02-49DA-9109-78A8088F6E71}" type="pres">
      <dgm:prSet presAssocID="{A8E99DEA-361B-4822-BBC8-F13C9550E827}" presName="hierRoot3" presStyleCnt="0">
        <dgm:presLayoutVars>
          <dgm:hierBranch val="init"/>
        </dgm:presLayoutVars>
      </dgm:prSet>
      <dgm:spPr/>
    </dgm:pt>
    <dgm:pt modelId="{57C373A1-00E7-4C4C-9F95-5EE6EF714FB7}" type="pres">
      <dgm:prSet presAssocID="{A8E99DEA-361B-4822-BBC8-F13C9550E827}" presName="rootComposite3" presStyleCnt="0"/>
      <dgm:spPr/>
    </dgm:pt>
    <dgm:pt modelId="{A7057D2A-ADF3-4D9E-B785-CAB8CCB3689A}" type="pres">
      <dgm:prSet presAssocID="{A8E99DEA-361B-4822-BBC8-F13C9550E827}" presName="rootText3" presStyleLbl="asst1" presStyleIdx="1" presStyleCnt="3" custLinFactX="65545" custLinFactNeighborX="100000" custLinFactNeighborY="-959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70D0AF2-F192-4BCE-AF22-40F4085712CB}" type="pres">
      <dgm:prSet presAssocID="{A8E99DEA-361B-4822-BBC8-F13C9550E827}" presName="rootConnector3" presStyleLbl="asst1" presStyleIdx="1" presStyleCnt="3"/>
      <dgm:spPr/>
      <dgm:t>
        <a:bodyPr/>
        <a:lstStyle/>
        <a:p>
          <a:pPr latinLnBrk="1"/>
          <a:endParaRPr lang="ko-KR" altLang="en-US"/>
        </a:p>
      </dgm:t>
    </dgm:pt>
    <dgm:pt modelId="{072DA5D1-E3D6-43A7-BF77-DB0C89E05FFE}" type="pres">
      <dgm:prSet presAssocID="{A8E99DEA-361B-4822-BBC8-F13C9550E827}" presName="hierChild6" presStyleCnt="0"/>
      <dgm:spPr/>
    </dgm:pt>
    <dgm:pt modelId="{F1E09043-E2B9-44DD-A3AD-0C92AACE7CCC}" type="pres">
      <dgm:prSet presAssocID="{A8E99DEA-361B-4822-BBC8-F13C9550E827}" presName="hierChild7" presStyleCnt="0"/>
      <dgm:spPr/>
    </dgm:pt>
    <dgm:pt modelId="{B7385F84-002A-4002-9020-DDBB77B4F972}" type="pres">
      <dgm:prSet presAssocID="{A16E13AF-5DC2-489D-A327-2A1667AAFEB9}" presName="Name111" presStyleLbl="parChTrans1D2" presStyleIdx="7" presStyleCnt="8"/>
      <dgm:spPr/>
      <dgm:t>
        <a:bodyPr/>
        <a:lstStyle/>
        <a:p>
          <a:pPr latinLnBrk="1"/>
          <a:endParaRPr lang="ko-KR" altLang="en-US"/>
        </a:p>
      </dgm:t>
    </dgm:pt>
    <dgm:pt modelId="{0860E75F-02D8-4593-8D10-501BB0742228}" type="pres">
      <dgm:prSet presAssocID="{A8E3C376-0A50-4F59-B8E7-09FA6C4FC0C7}" presName="hierRoot3" presStyleCnt="0">
        <dgm:presLayoutVars>
          <dgm:hierBranch val="init"/>
        </dgm:presLayoutVars>
      </dgm:prSet>
      <dgm:spPr/>
    </dgm:pt>
    <dgm:pt modelId="{00655F19-DAD1-47FC-B1BB-CE67E78CE3A0}" type="pres">
      <dgm:prSet presAssocID="{A8E3C376-0A50-4F59-B8E7-09FA6C4FC0C7}" presName="rootComposite3" presStyleCnt="0"/>
      <dgm:spPr/>
    </dgm:pt>
    <dgm:pt modelId="{2FDCBB41-2E65-4F94-BA4A-39C9A4D2DF74}" type="pres">
      <dgm:prSet presAssocID="{A8E3C376-0A50-4F59-B8E7-09FA6C4FC0C7}" presName="rootText3" presStyleLbl="asst1" presStyleIdx="2" presStyleCnt="3" custLinFactX="-33582" custLinFactNeighborX="-100000" custLinFactNeighborY="-89556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1BF735E9-D3C8-4220-BA70-E623A1751402}" type="pres">
      <dgm:prSet presAssocID="{A8E3C376-0A50-4F59-B8E7-09FA6C4FC0C7}" presName="rootConnector3" presStyleLbl="asst1" presStyleIdx="2" presStyleCnt="3"/>
      <dgm:spPr/>
      <dgm:t>
        <a:bodyPr/>
        <a:lstStyle/>
        <a:p>
          <a:pPr latinLnBrk="1"/>
          <a:endParaRPr lang="ko-KR" altLang="en-US"/>
        </a:p>
      </dgm:t>
    </dgm:pt>
    <dgm:pt modelId="{4BC62DAF-53A4-43FB-974C-7F10FE34A35E}" type="pres">
      <dgm:prSet presAssocID="{A8E3C376-0A50-4F59-B8E7-09FA6C4FC0C7}" presName="hierChild6" presStyleCnt="0"/>
      <dgm:spPr/>
    </dgm:pt>
    <dgm:pt modelId="{75951696-0788-419A-832B-231990FABED8}" type="pres">
      <dgm:prSet presAssocID="{A8E3C376-0A50-4F59-B8E7-09FA6C4FC0C7}" presName="hierChild7" presStyleCnt="0"/>
      <dgm:spPr/>
    </dgm:pt>
  </dgm:ptLst>
  <dgm:cxnLst>
    <dgm:cxn modelId="{93CCE852-89CE-4504-A682-47ED689F7330}" srcId="{FA0377BF-3723-4547-A593-C2DEF6E71B05}" destId="{B15DFB89-092C-4029-B1D9-5CDCAFE4381F}" srcOrd="7" destOrd="0" parTransId="{2E23A815-C8B0-4706-8600-07784481068A}" sibTransId="{2DD9A87C-51A9-409B-8D90-FCCBF184B912}"/>
    <dgm:cxn modelId="{37C9AD55-6A27-444F-8400-D678623BC6E9}" type="presOf" srcId="{A8E99DEA-361B-4822-BBC8-F13C9550E827}" destId="{370D0AF2-F192-4BCE-AF22-40F4085712CB}" srcOrd="1" destOrd="0" presId="urn:microsoft.com/office/officeart/2005/8/layout/orgChart1"/>
    <dgm:cxn modelId="{3781BD3B-5B1B-4E8F-832E-021940F16775}" srcId="{FA0377BF-3723-4547-A593-C2DEF6E71B05}" destId="{79684E3C-387B-4ADB-AB7C-B53D77837138}" srcOrd="0" destOrd="0" parTransId="{95797103-B1A8-4679-8F45-A6AF5F03144B}" sibTransId="{537B8FCC-493B-462B-8C06-C2799DC663FD}"/>
    <dgm:cxn modelId="{8E3DACAC-6728-456B-9B62-CE769770CF65}" type="presOf" srcId="{A8E99DEA-361B-4822-BBC8-F13C9550E827}" destId="{A7057D2A-ADF3-4D9E-B785-CAB8CCB3689A}" srcOrd="0" destOrd="0" presId="urn:microsoft.com/office/officeart/2005/8/layout/orgChart1"/>
    <dgm:cxn modelId="{65484982-9A99-4A53-99A6-5C1EB7810FD2}" type="presOf" srcId="{0601685D-FA86-4662-AC99-AF2D6E9C69A3}" destId="{47902175-DFC9-4C14-8763-8687DAB27D38}" srcOrd="0" destOrd="0" presId="urn:microsoft.com/office/officeart/2005/8/layout/orgChart1"/>
    <dgm:cxn modelId="{B292F3EF-8E6E-40C4-9D8B-60E0005EE961}" type="presOf" srcId="{B15DFB89-092C-4029-B1D9-5CDCAFE4381F}" destId="{1CB8372E-D491-482E-A78F-4BFFD3E950FA}" srcOrd="0" destOrd="0" presId="urn:microsoft.com/office/officeart/2005/8/layout/orgChart1"/>
    <dgm:cxn modelId="{9629A64E-FAAA-43CC-A8A2-6195BC9D8C40}" type="presOf" srcId="{04F223E3-7976-49EE-B742-2E8228AE8099}" destId="{FBFB9173-B0A9-4AED-8FC5-D17C5AB997C2}" srcOrd="0" destOrd="0" presId="urn:microsoft.com/office/officeart/2005/8/layout/orgChart1"/>
    <dgm:cxn modelId="{D4BC57C2-390B-480E-A1E9-753DF5910EF5}" type="presOf" srcId="{2E23A815-C8B0-4706-8600-07784481068A}" destId="{0E2A30CB-C78B-4A2F-9A34-72FC2572DDBE}" srcOrd="0" destOrd="0" presId="urn:microsoft.com/office/officeart/2005/8/layout/orgChart1"/>
    <dgm:cxn modelId="{A5F6C11C-5964-4F51-9584-9535AA8FF174}" type="presOf" srcId="{13B137D7-0C98-4196-B56D-A6FE871BB242}" destId="{073395A4-90E1-46AC-B7EE-01199A7143C8}" srcOrd="0" destOrd="0" presId="urn:microsoft.com/office/officeart/2005/8/layout/orgChart1"/>
    <dgm:cxn modelId="{F8011A14-6316-4299-8568-59702C10B5C1}" type="presOf" srcId="{FA0377BF-3723-4547-A593-C2DEF6E71B05}" destId="{4AE2AA96-355F-40E2-9C5E-827AEC66DDD3}" srcOrd="0" destOrd="0" presId="urn:microsoft.com/office/officeart/2005/8/layout/orgChart1"/>
    <dgm:cxn modelId="{907B5A6E-43E2-4C54-8E3C-EFC2C19E5CD0}" type="presOf" srcId="{A16E13AF-5DC2-489D-A327-2A1667AAFEB9}" destId="{B7385F84-002A-4002-9020-DDBB77B4F972}" srcOrd="0" destOrd="0" presId="urn:microsoft.com/office/officeart/2005/8/layout/orgChart1"/>
    <dgm:cxn modelId="{0240CD07-2C58-47D9-A0C0-18B8ECD9BFA6}" type="presOf" srcId="{801401B0-6182-48B5-A617-080866C4E8F0}" destId="{0BAE0489-87A6-4494-8955-BBE2980E6038}" srcOrd="0" destOrd="0" presId="urn:microsoft.com/office/officeart/2005/8/layout/orgChart1"/>
    <dgm:cxn modelId="{DA7F412A-0EA2-4355-BA5C-77B61F9E4507}" type="presOf" srcId="{79684E3C-387B-4ADB-AB7C-B53D77837138}" destId="{2257BE9A-520E-4677-9323-B13C5EC983CB}" srcOrd="1" destOrd="0" presId="urn:microsoft.com/office/officeart/2005/8/layout/orgChart1"/>
    <dgm:cxn modelId="{31E51FF2-4763-4035-8959-0AFA5DBE3A97}" type="presOf" srcId="{98EDA513-7261-4A19-AE42-473C08C8A663}" destId="{1A2DFF9C-1EBD-49F3-B1E4-80DCCEEE4451}" srcOrd="1" destOrd="0" presId="urn:microsoft.com/office/officeart/2005/8/layout/orgChart1"/>
    <dgm:cxn modelId="{94299F42-3A3E-43A6-95EE-8685BB9F7190}" type="presOf" srcId="{79684E3C-387B-4ADB-AB7C-B53D77837138}" destId="{F72D2F8C-9CA9-4274-BF02-1C1733DAA018}" srcOrd="0" destOrd="0" presId="urn:microsoft.com/office/officeart/2005/8/layout/orgChart1"/>
    <dgm:cxn modelId="{5BE04C99-6B5A-4228-BF4B-C69F2AAE368F}" type="presOf" srcId="{EB0F22B4-9F9B-4C1E-AD82-EE8114AE25BC}" destId="{D38ADBEA-2467-4A72-BED6-41F8A402BF79}" srcOrd="0" destOrd="0" presId="urn:microsoft.com/office/officeart/2005/8/layout/orgChart1"/>
    <dgm:cxn modelId="{9FD5648F-A435-4639-B5E4-62F1321935BC}" type="presOf" srcId="{FA0377BF-3723-4547-A593-C2DEF6E71B05}" destId="{B905F368-E73B-4E89-B4F1-91A83B97F987}" srcOrd="1" destOrd="0" presId="urn:microsoft.com/office/officeart/2005/8/layout/orgChart1"/>
    <dgm:cxn modelId="{15FCC4FA-13AD-4287-A73E-49F54E74EB5D}" srcId="{0C7F8219-454F-485C-8AFE-10D3575A5A0B}" destId="{FA0377BF-3723-4547-A593-C2DEF6E71B05}" srcOrd="0" destOrd="0" parTransId="{3BD98907-470F-4A05-A4AE-186808CFF300}" sibTransId="{0E4A902D-66FB-416F-9D46-71D94BFCCF18}"/>
    <dgm:cxn modelId="{2E2AC7F1-617F-4E2C-A505-A9A08500BABC}" type="presOf" srcId="{38F9A1EA-F5A4-4D76-A43F-40381CDADD4E}" destId="{9208F54D-27B9-4136-92F5-2328221D9B9A}" srcOrd="0" destOrd="0" presId="urn:microsoft.com/office/officeart/2005/8/layout/orgChart1"/>
    <dgm:cxn modelId="{BAD1FC7D-B308-48AD-9ACB-E8B69DD7FFDF}" type="presOf" srcId="{B15DFB89-092C-4029-B1D9-5CDCAFE4381F}" destId="{6B919826-309F-4C37-91FC-6C38B1B1B5E4}" srcOrd="1" destOrd="0" presId="urn:microsoft.com/office/officeart/2005/8/layout/orgChart1"/>
    <dgm:cxn modelId="{6F90518D-D3F2-4F39-9BA8-15FB23BB4A94}" type="presOf" srcId="{A8E3C376-0A50-4F59-B8E7-09FA6C4FC0C7}" destId="{1BF735E9-D3C8-4220-BA70-E623A1751402}" srcOrd="1" destOrd="0" presId="urn:microsoft.com/office/officeart/2005/8/layout/orgChart1"/>
    <dgm:cxn modelId="{6CD11047-E4EA-415F-BEF1-F7CD7B02F4C1}" srcId="{FA0377BF-3723-4547-A593-C2DEF6E71B05}" destId="{98EDA513-7261-4A19-AE42-473C08C8A663}" srcOrd="4" destOrd="0" parTransId="{0601685D-FA86-4662-AC99-AF2D6E9C69A3}" sibTransId="{F1D4D817-6E25-47C4-A5B9-46B85C997346}"/>
    <dgm:cxn modelId="{6B387271-D671-47E2-AB04-827F38ECA095}" type="presOf" srcId="{1B40F55D-11AC-45F4-8D8B-F861500A459F}" destId="{44C00D07-55FE-4EA9-A8EA-F757B3600EF7}" srcOrd="1" destOrd="0" presId="urn:microsoft.com/office/officeart/2005/8/layout/orgChart1"/>
    <dgm:cxn modelId="{8CABBC86-B9CC-4E5A-8C9A-364D3410F5B0}" type="presOf" srcId="{0C7F8219-454F-485C-8AFE-10D3575A5A0B}" destId="{6CCD6CB6-29E3-450C-98F1-F75FF3B77462}" srcOrd="0" destOrd="0" presId="urn:microsoft.com/office/officeart/2005/8/layout/orgChart1"/>
    <dgm:cxn modelId="{F8111E5D-6CDE-4367-9799-B9C9812F49CA}" srcId="{FA0377BF-3723-4547-A593-C2DEF6E71B05}" destId="{1B40F55D-11AC-45F4-8D8B-F861500A459F}" srcOrd="6" destOrd="0" parTransId="{04F223E3-7976-49EE-B742-2E8228AE8099}" sibTransId="{44D27B0C-ECE4-458B-8F3F-10D855F7699E}"/>
    <dgm:cxn modelId="{32E42CDE-C0BE-402A-8BDE-78118DAB2E84}" srcId="{FA0377BF-3723-4547-A593-C2DEF6E71B05}" destId="{38F9A1EA-F5A4-4D76-A43F-40381CDADD4E}" srcOrd="5" destOrd="0" parTransId="{13B137D7-0C98-4196-B56D-A6FE871BB242}" sibTransId="{DE607334-7756-44E9-B7BE-6B82F54AC9E7}"/>
    <dgm:cxn modelId="{F088CF13-479B-40DD-8362-0131689111C2}" srcId="{FA0377BF-3723-4547-A593-C2DEF6E71B05}" destId="{EB0F22B4-9F9B-4C1E-AD82-EE8114AE25BC}" srcOrd="3" destOrd="0" parTransId="{801401B0-6182-48B5-A617-080866C4E8F0}" sibTransId="{4D43C86A-6B1F-40E5-A1B4-A6CE6FD21D93}"/>
    <dgm:cxn modelId="{6502AFEB-0279-4FC4-AFDD-5393581414DA}" type="presOf" srcId="{95797103-B1A8-4679-8F45-A6AF5F03144B}" destId="{11A90BCC-8CEA-4117-9923-C6A6BEBF033D}" srcOrd="0" destOrd="0" presId="urn:microsoft.com/office/officeart/2005/8/layout/orgChart1"/>
    <dgm:cxn modelId="{DFC630F6-FF3E-43A5-A65F-3516B70BC71A}" type="presOf" srcId="{EB0F22B4-9F9B-4C1E-AD82-EE8114AE25BC}" destId="{F29DFF11-D431-40DD-B6ED-1FCA765E538A}" srcOrd="1" destOrd="0" presId="urn:microsoft.com/office/officeart/2005/8/layout/orgChart1"/>
    <dgm:cxn modelId="{DC06A2A4-6D39-4AEB-9DDF-76D6FD50D23C}" srcId="{FA0377BF-3723-4547-A593-C2DEF6E71B05}" destId="{A8E3C376-0A50-4F59-B8E7-09FA6C4FC0C7}" srcOrd="2" destOrd="0" parTransId="{A16E13AF-5DC2-489D-A327-2A1667AAFEB9}" sibTransId="{EBF56BC4-CCA8-4806-91D4-1B6B41BE876C}"/>
    <dgm:cxn modelId="{E5DC7CBA-51BD-4D04-84D6-B54680A45B95}" srcId="{FA0377BF-3723-4547-A593-C2DEF6E71B05}" destId="{A8E99DEA-361B-4822-BBC8-F13C9550E827}" srcOrd="1" destOrd="0" parTransId="{00BFF466-E86D-494E-B8D0-18CD213DD183}" sibTransId="{15A15779-22A4-4FCA-BFD1-86F6105283C5}"/>
    <dgm:cxn modelId="{324986B7-044E-4663-9D36-B5444B418379}" type="presOf" srcId="{38F9A1EA-F5A4-4D76-A43F-40381CDADD4E}" destId="{7AFDF592-57A6-4D45-96C9-D57FF854059D}" srcOrd="1" destOrd="0" presId="urn:microsoft.com/office/officeart/2005/8/layout/orgChart1"/>
    <dgm:cxn modelId="{28170713-C696-4A7D-8CC2-DC22B902D403}" type="presOf" srcId="{A8E3C376-0A50-4F59-B8E7-09FA6C4FC0C7}" destId="{2FDCBB41-2E65-4F94-BA4A-39C9A4D2DF74}" srcOrd="0" destOrd="0" presId="urn:microsoft.com/office/officeart/2005/8/layout/orgChart1"/>
    <dgm:cxn modelId="{3D2D8928-50ED-4D80-9DFD-69026D01DFFD}" type="presOf" srcId="{00BFF466-E86D-494E-B8D0-18CD213DD183}" destId="{1BA49767-0047-4448-93B2-AFD4B058483F}" srcOrd="0" destOrd="0" presId="urn:microsoft.com/office/officeart/2005/8/layout/orgChart1"/>
    <dgm:cxn modelId="{365D3F7D-604F-4B50-AC94-3C8A7F4D7B19}" type="presOf" srcId="{1B40F55D-11AC-45F4-8D8B-F861500A459F}" destId="{19C8F406-FEF9-4A93-A56C-60F1F010C087}" srcOrd="0" destOrd="0" presId="urn:microsoft.com/office/officeart/2005/8/layout/orgChart1"/>
    <dgm:cxn modelId="{BFC1C740-1C22-485A-AF7C-4D7E9EF6F7EC}" type="presOf" srcId="{98EDA513-7261-4A19-AE42-473C08C8A663}" destId="{10BF6A9E-6169-4797-9790-CA387508D5AE}" srcOrd="0" destOrd="0" presId="urn:microsoft.com/office/officeart/2005/8/layout/orgChart1"/>
    <dgm:cxn modelId="{0F59AAB4-997D-4DB0-8E15-8F61F7FFC9A3}" type="presParOf" srcId="{6CCD6CB6-29E3-450C-98F1-F75FF3B77462}" destId="{653DDE5E-D3F7-4F51-9EF7-795F3492FA3B}" srcOrd="0" destOrd="0" presId="urn:microsoft.com/office/officeart/2005/8/layout/orgChart1"/>
    <dgm:cxn modelId="{8184ADE1-6527-4231-9AD0-A4546EE93E2A}" type="presParOf" srcId="{653DDE5E-D3F7-4F51-9EF7-795F3492FA3B}" destId="{1C8722B1-4B17-4344-888C-FBC5DF5B7DEF}" srcOrd="0" destOrd="0" presId="urn:microsoft.com/office/officeart/2005/8/layout/orgChart1"/>
    <dgm:cxn modelId="{DB6B1E92-10D1-4C94-9232-C0AA2350F9A1}" type="presParOf" srcId="{1C8722B1-4B17-4344-888C-FBC5DF5B7DEF}" destId="{4AE2AA96-355F-40E2-9C5E-827AEC66DDD3}" srcOrd="0" destOrd="0" presId="urn:microsoft.com/office/officeart/2005/8/layout/orgChart1"/>
    <dgm:cxn modelId="{110A6A69-709E-48FC-ADCF-3DEF899F595B}" type="presParOf" srcId="{1C8722B1-4B17-4344-888C-FBC5DF5B7DEF}" destId="{B905F368-E73B-4E89-B4F1-91A83B97F987}" srcOrd="1" destOrd="0" presId="urn:microsoft.com/office/officeart/2005/8/layout/orgChart1"/>
    <dgm:cxn modelId="{B6B08973-891E-4B27-A95E-256938E95CFB}" type="presParOf" srcId="{653DDE5E-D3F7-4F51-9EF7-795F3492FA3B}" destId="{2F13AF01-C28A-4DBE-B1AF-C4280F8E1ED6}" srcOrd="1" destOrd="0" presId="urn:microsoft.com/office/officeart/2005/8/layout/orgChart1"/>
    <dgm:cxn modelId="{A49ABACC-438A-4093-95B6-3EADAE5A7ECD}" type="presParOf" srcId="{2F13AF01-C28A-4DBE-B1AF-C4280F8E1ED6}" destId="{0BAE0489-87A6-4494-8955-BBE2980E6038}" srcOrd="0" destOrd="0" presId="urn:microsoft.com/office/officeart/2005/8/layout/orgChart1"/>
    <dgm:cxn modelId="{C85F87B8-CCE4-4E7B-8787-BD0B01D67184}" type="presParOf" srcId="{2F13AF01-C28A-4DBE-B1AF-C4280F8E1ED6}" destId="{38F6BCFC-999F-4E9D-A167-EC640ADAAE6E}" srcOrd="1" destOrd="0" presId="urn:microsoft.com/office/officeart/2005/8/layout/orgChart1"/>
    <dgm:cxn modelId="{77759704-6214-4CA8-9331-B25F6BC4C3E8}" type="presParOf" srcId="{38F6BCFC-999F-4E9D-A167-EC640ADAAE6E}" destId="{10F021B3-E759-4849-B307-15F5FB90ABCC}" srcOrd="0" destOrd="0" presId="urn:microsoft.com/office/officeart/2005/8/layout/orgChart1"/>
    <dgm:cxn modelId="{CEAD50C4-387C-49CA-B64B-DF27D9BAD15D}" type="presParOf" srcId="{10F021B3-E759-4849-B307-15F5FB90ABCC}" destId="{D38ADBEA-2467-4A72-BED6-41F8A402BF79}" srcOrd="0" destOrd="0" presId="urn:microsoft.com/office/officeart/2005/8/layout/orgChart1"/>
    <dgm:cxn modelId="{ED814237-7BC9-4F16-AB99-2951FC7E106E}" type="presParOf" srcId="{10F021B3-E759-4849-B307-15F5FB90ABCC}" destId="{F29DFF11-D431-40DD-B6ED-1FCA765E538A}" srcOrd="1" destOrd="0" presId="urn:microsoft.com/office/officeart/2005/8/layout/orgChart1"/>
    <dgm:cxn modelId="{0C3E359B-502C-4EAE-9FE4-0F0B1B3C3E67}" type="presParOf" srcId="{38F6BCFC-999F-4E9D-A167-EC640ADAAE6E}" destId="{13912B9B-2315-494A-8AEC-926C80FAF7EA}" srcOrd="1" destOrd="0" presId="urn:microsoft.com/office/officeart/2005/8/layout/orgChart1"/>
    <dgm:cxn modelId="{61D1F1BF-E2F4-4749-B37E-CD3F1118E5DF}" type="presParOf" srcId="{38F6BCFC-999F-4E9D-A167-EC640ADAAE6E}" destId="{46DA77E2-A54F-46A0-A9F4-25B13B5C6A29}" srcOrd="2" destOrd="0" presId="urn:microsoft.com/office/officeart/2005/8/layout/orgChart1"/>
    <dgm:cxn modelId="{79B1181B-B42A-42B6-BB52-B00184C63BA0}" type="presParOf" srcId="{2F13AF01-C28A-4DBE-B1AF-C4280F8E1ED6}" destId="{47902175-DFC9-4C14-8763-8687DAB27D38}" srcOrd="2" destOrd="0" presId="urn:microsoft.com/office/officeart/2005/8/layout/orgChart1"/>
    <dgm:cxn modelId="{50B9E3D1-6F8B-415F-8B85-3ED052BAA6D7}" type="presParOf" srcId="{2F13AF01-C28A-4DBE-B1AF-C4280F8E1ED6}" destId="{8B7DED9A-E63F-436E-8247-3AC67C1F3F64}" srcOrd="3" destOrd="0" presId="urn:microsoft.com/office/officeart/2005/8/layout/orgChart1"/>
    <dgm:cxn modelId="{D3C950D6-B62D-4EF9-A895-9F293CAA1BB8}" type="presParOf" srcId="{8B7DED9A-E63F-436E-8247-3AC67C1F3F64}" destId="{5224C9F1-A1E7-41CA-8D88-3D7D246E7401}" srcOrd="0" destOrd="0" presId="urn:microsoft.com/office/officeart/2005/8/layout/orgChart1"/>
    <dgm:cxn modelId="{5EB76258-783C-458D-94C0-70D83087631E}" type="presParOf" srcId="{5224C9F1-A1E7-41CA-8D88-3D7D246E7401}" destId="{10BF6A9E-6169-4797-9790-CA387508D5AE}" srcOrd="0" destOrd="0" presId="urn:microsoft.com/office/officeart/2005/8/layout/orgChart1"/>
    <dgm:cxn modelId="{17321F38-64DC-42FB-B454-EC4EED5671E8}" type="presParOf" srcId="{5224C9F1-A1E7-41CA-8D88-3D7D246E7401}" destId="{1A2DFF9C-1EBD-49F3-B1E4-80DCCEEE4451}" srcOrd="1" destOrd="0" presId="urn:microsoft.com/office/officeart/2005/8/layout/orgChart1"/>
    <dgm:cxn modelId="{66AA4C80-7D63-47C0-926B-D4003D2206F2}" type="presParOf" srcId="{8B7DED9A-E63F-436E-8247-3AC67C1F3F64}" destId="{6EF2E893-FB7A-4F4D-AD7B-95CF260B4F65}" srcOrd="1" destOrd="0" presId="urn:microsoft.com/office/officeart/2005/8/layout/orgChart1"/>
    <dgm:cxn modelId="{9AED7F56-3ADA-4BFF-A053-E6D07231F9CB}" type="presParOf" srcId="{8B7DED9A-E63F-436E-8247-3AC67C1F3F64}" destId="{E19D2888-9005-4235-85FC-FD58D1E766D6}" srcOrd="2" destOrd="0" presId="urn:microsoft.com/office/officeart/2005/8/layout/orgChart1"/>
    <dgm:cxn modelId="{37862CC8-B168-49B0-AD1A-3AB6C65F06CE}" type="presParOf" srcId="{2F13AF01-C28A-4DBE-B1AF-C4280F8E1ED6}" destId="{073395A4-90E1-46AC-B7EE-01199A7143C8}" srcOrd="4" destOrd="0" presId="urn:microsoft.com/office/officeart/2005/8/layout/orgChart1"/>
    <dgm:cxn modelId="{F05B4DDB-2751-4472-9457-6759886F126D}" type="presParOf" srcId="{2F13AF01-C28A-4DBE-B1AF-C4280F8E1ED6}" destId="{620D520F-2AF8-41EA-98CE-A61B2545FDEB}" srcOrd="5" destOrd="0" presId="urn:microsoft.com/office/officeart/2005/8/layout/orgChart1"/>
    <dgm:cxn modelId="{9CDDCCAE-DB71-466B-89B8-553C1C936859}" type="presParOf" srcId="{620D520F-2AF8-41EA-98CE-A61B2545FDEB}" destId="{05BF6F4F-DA16-4B45-BEC7-E29E5F496B20}" srcOrd="0" destOrd="0" presId="urn:microsoft.com/office/officeart/2005/8/layout/orgChart1"/>
    <dgm:cxn modelId="{C88F904C-6796-44A0-90DF-27D32F7C72E8}" type="presParOf" srcId="{05BF6F4F-DA16-4B45-BEC7-E29E5F496B20}" destId="{9208F54D-27B9-4136-92F5-2328221D9B9A}" srcOrd="0" destOrd="0" presId="urn:microsoft.com/office/officeart/2005/8/layout/orgChart1"/>
    <dgm:cxn modelId="{22C9794C-5085-4DDB-AD29-E419F67761E0}" type="presParOf" srcId="{05BF6F4F-DA16-4B45-BEC7-E29E5F496B20}" destId="{7AFDF592-57A6-4D45-96C9-D57FF854059D}" srcOrd="1" destOrd="0" presId="urn:microsoft.com/office/officeart/2005/8/layout/orgChart1"/>
    <dgm:cxn modelId="{D29D0947-B553-462F-A137-21BFE748AF99}" type="presParOf" srcId="{620D520F-2AF8-41EA-98CE-A61B2545FDEB}" destId="{84D013B5-A38D-4F72-892B-CDB6600E1D72}" srcOrd="1" destOrd="0" presId="urn:microsoft.com/office/officeart/2005/8/layout/orgChart1"/>
    <dgm:cxn modelId="{6AEB49BF-E44B-4585-9B2E-F0B8FB321476}" type="presParOf" srcId="{620D520F-2AF8-41EA-98CE-A61B2545FDEB}" destId="{0699F3B6-E1AB-4D6F-A3C5-7B0614FB6687}" srcOrd="2" destOrd="0" presId="urn:microsoft.com/office/officeart/2005/8/layout/orgChart1"/>
    <dgm:cxn modelId="{D2EB549E-B247-4AA1-BCC4-973EE03507CC}" type="presParOf" srcId="{2F13AF01-C28A-4DBE-B1AF-C4280F8E1ED6}" destId="{FBFB9173-B0A9-4AED-8FC5-D17C5AB997C2}" srcOrd="6" destOrd="0" presId="urn:microsoft.com/office/officeart/2005/8/layout/orgChart1"/>
    <dgm:cxn modelId="{5A0FBC1D-B1D9-4A99-BC63-BDDD3B1F8CC3}" type="presParOf" srcId="{2F13AF01-C28A-4DBE-B1AF-C4280F8E1ED6}" destId="{151DB046-3074-4211-90B3-9B8401EA1BB6}" srcOrd="7" destOrd="0" presId="urn:microsoft.com/office/officeart/2005/8/layout/orgChart1"/>
    <dgm:cxn modelId="{35CE0A24-4FFA-417A-9479-BBCD720E543B}" type="presParOf" srcId="{151DB046-3074-4211-90B3-9B8401EA1BB6}" destId="{3024E02C-92FE-4B03-A8D1-A0507405C57E}" srcOrd="0" destOrd="0" presId="urn:microsoft.com/office/officeart/2005/8/layout/orgChart1"/>
    <dgm:cxn modelId="{35C5DFCC-8794-40A1-A1F0-E165AA01D55B}" type="presParOf" srcId="{3024E02C-92FE-4B03-A8D1-A0507405C57E}" destId="{19C8F406-FEF9-4A93-A56C-60F1F010C087}" srcOrd="0" destOrd="0" presId="urn:microsoft.com/office/officeart/2005/8/layout/orgChart1"/>
    <dgm:cxn modelId="{564DC6D7-2FF0-4B1A-9341-13C003653E52}" type="presParOf" srcId="{3024E02C-92FE-4B03-A8D1-A0507405C57E}" destId="{44C00D07-55FE-4EA9-A8EA-F757B3600EF7}" srcOrd="1" destOrd="0" presId="urn:microsoft.com/office/officeart/2005/8/layout/orgChart1"/>
    <dgm:cxn modelId="{1F2D3106-6253-4292-B1AD-B22A5DFB9BC5}" type="presParOf" srcId="{151DB046-3074-4211-90B3-9B8401EA1BB6}" destId="{44A6C007-C803-4388-8492-EBB2B7B6CE84}" srcOrd="1" destOrd="0" presId="urn:microsoft.com/office/officeart/2005/8/layout/orgChart1"/>
    <dgm:cxn modelId="{A378ECD5-3D87-485D-830D-6E013A65DD24}" type="presParOf" srcId="{151DB046-3074-4211-90B3-9B8401EA1BB6}" destId="{1954284A-8022-4E52-BD3A-5C657A5490CE}" srcOrd="2" destOrd="0" presId="urn:microsoft.com/office/officeart/2005/8/layout/orgChart1"/>
    <dgm:cxn modelId="{E520B618-B4C4-474F-B04F-BE3EDE398D64}" type="presParOf" srcId="{2F13AF01-C28A-4DBE-B1AF-C4280F8E1ED6}" destId="{0E2A30CB-C78B-4A2F-9A34-72FC2572DDBE}" srcOrd="8" destOrd="0" presId="urn:microsoft.com/office/officeart/2005/8/layout/orgChart1"/>
    <dgm:cxn modelId="{93EADB9D-80DE-4BC2-94ED-62DE91744908}" type="presParOf" srcId="{2F13AF01-C28A-4DBE-B1AF-C4280F8E1ED6}" destId="{DD7A968E-CE94-409A-BF13-BA36F6057DAE}" srcOrd="9" destOrd="0" presId="urn:microsoft.com/office/officeart/2005/8/layout/orgChart1"/>
    <dgm:cxn modelId="{36A145D8-EAA7-4A11-9FC8-1EC36E00F6AD}" type="presParOf" srcId="{DD7A968E-CE94-409A-BF13-BA36F6057DAE}" destId="{1EF8521B-7F21-484B-A97C-D1D2A8A6FA27}" srcOrd="0" destOrd="0" presId="urn:microsoft.com/office/officeart/2005/8/layout/orgChart1"/>
    <dgm:cxn modelId="{1DEBFF42-649E-439A-9B0E-C3B54A92EDCD}" type="presParOf" srcId="{1EF8521B-7F21-484B-A97C-D1D2A8A6FA27}" destId="{1CB8372E-D491-482E-A78F-4BFFD3E950FA}" srcOrd="0" destOrd="0" presId="urn:microsoft.com/office/officeart/2005/8/layout/orgChart1"/>
    <dgm:cxn modelId="{C01F7C9D-B576-44BE-BDD0-FC559A30C9FD}" type="presParOf" srcId="{1EF8521B-7F21-484B-A97C-D1D2A8A6FA27}" destId="{6B919826-309F-4C37-91FC-6C38B1B1B5E4}" srcOrd="1" destOrd="0" presId="urn:microsoft.com/office/officeart/2005/8/layout/orgChart1"/>
    <dgm:cxn modelId="{27697E92-E993-4F87-A23A-20D6087C2D84}" type="presParOf" srcId="{DD7A968E-CE94-409A-BF13-BA36F6057DAE}" destId="{0651A1B9-E1BD-48F8-89C3-9EA15C626078}" srcOrd="1" destOrd="0" presId="urn:microsoft.com/office/officeart/2005/8/layout/orgChart1"/>
    <dgm:cxn modelId="{7CFCEDA0-38D3-46B7-AD94-8CDEB4834A10}" type="presParOf" srcId="{DD7A968E-CE94-409A-BF13-BA36F6057DAE}" destId="{3DF98E88-B7F4-4AA8-A194-3DD9BDD1C13E}" srcOrd="2" destOrd="0" presId="urn:microsoft.com/office/officeart/2005/8/layout/orgChart1"/>
    <dgm:cxn modelId="{177B5E54-96AF-4EB0-9A35-887A933ECE44}" type="presParOf" srcId="{653DDE5E-D3F7-4F51-9EF7-795F3492FA3B}" destId="{BBC6EE19-9816-4791-A085-F88E8C64753C}" srcOrd="2" destOrd="0" presId="urn:microsoft.com/office/officeart/2005/8/layout/orgChart1"/>
    <dgm:cxn modelId="{554A1024-15CA-4B78-8C62-11A68C782C14}" type="presParOf" srcId="{BBC6EE19-9816-4791-A085-F88E8C64753C}" destId="{11A90BCC-8CEA-4117-9923-C6A6BEBF033D}" srcOrd="0" destOrd="0" presId="urn:microsoft.com/office/officeart/2005/8/layout/orgChart1"/>
    <dgm:cxn modelId="{00F15A4A-73B0-4D11-840C-3D1743ABE03F}" type="presParOf" srcId="{BBC6EE19-9816-4791-A085-F88E8C64753C}" destId="{B4BCBD3D-B5DD-493F-8B08-A927448A05DA}" srcOrd="1" destOrd="0" presId="urn:microsoft.com/office/officeart/2005/8/layout/orgChart1"/>
    <dgm:cxn modelId="{14D42A65-2B30-41E6-8EEC-A5415AE9A4C3}" type="presParOf" srcId="{B4BCBD3D-B5DD-493F-8B08-A927448A05DA}" destId="{D2741459-259F-448E-A411-EC5C5330EE8B}" srcOrd="0" destOrd="0" presId="urn:microsoft.com/office/officeart/2005/8/layout/orgChart1"/>
    <dgm:cxn modelId="{539650CD-7C94-4340-90F4-3DF89788C54C}" type="presParOf" srcId="{D2741459-259F-448E-A411-EC5C5330EE8B}" destId="{F72D2F8C-9CA9-4274-BF02-1C1733DAA018}" srcOrd="0" destOrd="0" presId="urn:microsoft.com/office/officeart/2005/8/layout/orgChart1"/>
    <dgm:cxn modelId="{DADC9C8D-6158-4D59-BA7E-58020AC2DC4C}" type="presParOf" srcId="{D2741459-259F-448E-A411-EC5C5330EE8B}" destId="{2257BE9A-520E-4677-9323-B13C5EC983CB}" srcOrd="1" destOrd="0" presId="urn:microsoft.com/office/officeart/2005/8/layout/orgChart1"/>
    <dgm:cxn modelId="{2375A75D-13EF-4376-97FD-F6B0732C18F0}" type="presParOf" srcId="{B4BCBD3D-B5DD-493F-8B08-A927448A05DA}" destId="{95F74C15-25D3-4C03-8174-C334ADCE75D3}" srcOrd="1" destOrd="0" presId="urn:microsoft.com/office/officeart/2005/8/layout/orgChart1"/>
    <dgm:cxn modelId="{26FF8638-2701-4089-AEF7-F7A6E19F09CB}" type="presParOf" srcId="{B4BCBD3D-B5DD-493F-8B08-A927448A05DA}" destId="{A77864DF-A77D-460F-9603-2919143ACFD5}" srcOrd="2" destOrd="0" presId="urn:microsoft.com/office/officeart/2005/8/layout/orgChart1"/>
    <dgm:cxn modelId="{A8470C12-BA9F-4FFB-A6CD-90F495274D30}" type="presParOf" srcId="{BBC6EE19-9816-4791-A085-F88E8C64753C}" destId="{1BA49767-0047-4448-93B2-AFD4B058483F}" srcOrd="2" destOrd="0" presId="urn:microsoft.com/office/officeart/2005/8/layout/orgChart1"/>
    <dgm:cxn modelId="{7CF1BA79-8ECA-4D90-B242-41C8DF79579D}" type="presParOf" srcId="{BBC6EE19-9816-4791-A085-F88E8C64753C}" destId="{A3A48ABF-8B02-49DA-9109-78A8088F6E71}" srcOrd="3" destOrd="0" presId="urn:microsoft.com/office/officeart/2005/8/layout/orgChart1"/>
    <dgm:cxn modelId="{3BDA77A1-2A6D-48F0-BD1F-526CD6F275D2}" type="presParOf" srcId="{A3A48ABF-8B02-49DA-9109-78A8088F6E71}" destId="{57C373A1-00E7-4C4C-9F95-5EE6EF714FB7}" srcOrd="0" destOrd="0" presId="urn:microsoft.com/office/officeart/2005/8/layout/orgChart1"/>
    <dgm:cxn modelId="{430DDD83-FB24-4C10-B3B3-C81342B41B67}" type="presParOf" srcId="{57C373A1-00E7-4C4C-9F95-5EE6EF714FB7}" destId="{A7057D2A-ADF3-4D9E-B785-CAB8CCB3689A}" srcOrd="0" destOrd="0" presId="urn:microsoft.com/office/officeart/2005/8/layout/orgChart1"/>
    <dgm:cxn modelId="{A1495F44-66DF-48A5-BDBD-17E835564C32}" type="presParOf" srcId="{57C373A1-00E7-4C4C-9F95-5EE6EF714FB7}" destId="{370D0AF2-F192-4BCE-AF22-40F4085712CB}" srcOrd="1" destOrd="0" presId="urn:microsoft.com/office/officeart/2005/8/layout/orgChart1"/>
    <dgm:cxn modelId="{E7DC1057-577B-42E5-B844-0AB82E9CF14E}" type="presParOf" srcId="{A3A48ABF-8B02-49DA-9109-78A8088F6E71}" destId="{072DA5D1-E3D6-43A7-BF77-DB0C89E05FFE}" srcOrd="1" destOrd="0" presId="urn:microsoft.com/office/officeart/2005/8/layout/orgChart1"/>
    <dgm:cxn modelId="{1778D3DB-4B07-46E2-BFC8-4EB7D5495382}" type="presParOf" srcId="{A3A48ABF-8B02-49DA-9109-78A8088F6E71}" destId="{F1E09043-E2B9-44DD-A3AD-0C92AACE7CCC}" srcOrd="2" destOrd="0" presId="urn:microsoft.com/office/officeart/2005/8/layout/orgChart1"/>
    <dgm:cxn modelId="{A667813B-7A1B-4A43-BDF1-521240430876}" type="presParOf" srcId="{BBC6EE19-9816-4791-A085-F88E8C64753C}" destId="{B7385F84-002A-4002-9020-DDBB77B4F972}" srcOrd="4" destOrd="0" presId="urn:microsoft.com/office/officeart/2005/8/layout/orgChart1"/>
    <dgm:cxn modelId="{EF394147-1CE9-4FAC-97A4-AFE397B00651}" type="presParOf" srcId="{BBC6EE19-9816-4791-A085-F88E8C64753C}" destId="{0860E75F-02D8-4593-8D10-501BB0742228}" srcOrd="5" destOrd="0" presId="urn:microsoft.com/office/officeart/2005/8/layout/orgChart1"/>
    <dgm:cxn modelId="{CB76DF8B-C042-4F47-BB8E-F7C1C843E705}" type="presParOf" srcId="{0860E75F-02D8-4593-8D10-501BB0742228}" destId="{00655F19-DAD1-47FC-B1BB-CE67E78CE3A0}" srcOrd="0" destOrd="0" presId="urn:microsoft.com/office/officeart/2005/8/layout/orgChart1"/>
    <dgm:cxn modelId="{78F77D0B-D713-4370-AF44-BE95342F0A70}" type="presParOf" srcId="{00655F19-DAD1-47FC-B1BB-CE67E78CE3A0}" destId="{2FDCBB41-2E65-4F94-BA4A-39C9A4D2DF74}" srcOrd="0" destOrd="0" presId="urn:microsoft.com/office/officeart/2005/8/layout/orgChart1"/>
    <dgm:cxn modelId="{A88EBE82-3B93-46DD-A04B-010200BB202F}" type="presParOf" srcId="{00655F19-DAD1-47FC-B1BB-CE67E78CE3A0}" destId="{1BF735E9-D3C8-4220-BA70-E623A1751402}" srcOrd="1" destOrd="0" presId="urn:microsoft.com/office/officeart/2005/8/layout/orgChart1"/>
    <dgm:cxn modelId="{35DC7677-D262-4961-8388-0AD24DAF35AA}" type="presParOf" srcId="{0860E75F-02D8-4593-8D10-501BB0742228}" destId="{4BC62DAF-53A4-43FB-974C-7F10FE34A35E}" srcOrd="1" destOrd="0" presId="urn:microsoft.com/office/officeart/2005/8/layout/orgChart1"/>
    <dgm:cxn modelId="{D5B6B0D0-B8F9-4D70-9219-883BE0CAF809}" type="presParOf" srcId="{0860E75F-02D8-4593-8D10-501BB0742228}" destId="{75951696-0788-419A-832B-231990FABED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록한 재료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정보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추천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재료 노트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026B5E9E-C16B-4917-86D4-0AFFAA9A2CEF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정보</a:t>
          </a:r>
        </a:p>
      </dgm:t>
    </dgm:pt>
    <dgm:pt modelId="{B72E53B9-8C76-4F68-A93D-DC1C2C85EBB6}" type="parTrans" cxnId="{3E0BCBDD-889F-4D22-8FB4-0DF3FC66DD02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C0784082-0ABD-4AC6-A6F8-F85DDBEDA8D6}" type="sibTrans" cxnId="{3E0BCBDD-889F-4D22-8FB4-0DF3FC66DD02}">
      <dgm:prSet/>
      <dgm:spPr/>
      <dgm:t>
        <a:bodyPr/>
        <a:lstStyle/>
        <a:p>
          <a:pPr latinLnBrk="1"/>
          <a:endParaRPr lang="ko-KR" altLang="en-US"/>
        </a:p>
      </dgm:t>
    </dgm:pt>
    <dgm:pt modelId="{83D67256-2B2D-4F2A-978E-EFFB2BABCB4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새 </a:t>
          </a:r>
          <a:r>
            <a:rPr lang="ko-KR" altLang="en-US" sz="1800" dirty="0" smtClean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추가</a:t>
          </a:r>
          <a:endParaRPr lang="ko-KR" altLang="en-US" sz="18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51EA2187-C2E7-432E-AABA-295E31E6AFA7}" type="parTrans" cxnId="{C3AB6D29-02BA-4875-98FD-D40A28AF6ACB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4CDCD402-54F8-4254-91D6-C8FE7DED8B8F}" type="sibTrans" cxnId="{C3AB6D29-02BA-4875-98FD-D40A28AF6ACB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 custScaleX="94254" custLinFactNeighborX="-770" custLinFactNeighborY="-378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5C887089-F75D-4BC7-9CA6-991BAFD3DFF2}" type="pres">
      <dgm:prSet presAssocID="{B72E53B9-8C76-4F68-A93D-DC1C2C85EBB6}" presName="Name35" presStyleLbl="parChTrans1D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13A44D7D-3A85-4A35-A41D-FF40E3C53FB1}" type="pres">
      <dgm:prSet presAssocID="{026B5E9E-C16B-4917-86D4-0AFFAA9A2CEF}" presName="hierRoot2" presStyleCnt="0">
        <dgm:presLayoutVars>
          <dgm:hierBranch val="init"/>
        </dgm:presLayoutVars>
      </dgm:prSet>
      <dgm:spPr/>
    </dgm:pt>
    <dgm:pt modelId="{98468E40-9574-4019-AEF6-4A670021D597}" type="pres">
      <dgm:prSet presAssocID="{026B5E9E-C16B-4917-86D4-0AFFAA9A2CEF}" presName="rootComposite" presStyleCnt="0"/>
      <dgm:spPr/>
    </dgm:pt>
    <dgm:pt modelId="{D67DBF64-1C7E-4956-A9BC-72C829784B68}" type="pres">
      <dgm:prSet presAssocID="{026B5E9E-C16B-4917-86D4-0AFFAA9A2CEF}" presName="rootText" presStyleLbl="node2" presStyleIdx="0" presStyleCnt="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03D11B5C-7424-4D86-B264-48A9DEFD7AE8}" type="pres">
      <dgm:prSet presAssocID="{026B5E9E-C16B-4917-86D4-0AFFAA9A2CEF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581B4942-ECD4-4D4A-9BD4-792AE91B6F6B}" type="pres">
      <dgm:prSet presAssocID="{026B5E9E-C16B-4917-86D4-0AFFAA9A2CEF}" presName="hierChild4" presStyleCnt="0"/>
      <dgm:spPr/>
    </dgm:pt>
    <dgm:pt modelId="{5E5D3129-9484-4590-B16D-014679EE2A68}" type="pres">
      <dgm:prSet presAssocID="{026B5E9E-C16B-4917-86D4-0AFFAA9A2CEF}" presName="hierChild5" presStyleCnt="0"/>
      <dgm:spPr/>
    </dgm:pt>
    <dgm:pt modelId="{10183899-82B2-4747-BB2C-BE647FDB4545}" type="pres">
      <dgm:prSet presAssocID="{63BDE043-00EF-48FD-97E2-BCBDA07AF672}" presName="Name35" presStyleLbl="parChTrans1D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5" custScaleX="104366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B5B47C38-5A4E-4704-9E44-4DB44CD2C562}" type="pres">
      <dgm:prSet presAssocID="{FFB1546E-3EE6-42E5-B7F3-F3E37AAE5383}" presName="Name35" presStyleLbl="parChTrans1D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2" presStyleCnt="5" custLinFactNeighborX="-287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BFF2C5DD-D124-466C-9EAB-77FEDFF0781B}" type="pres">
      <dgm:prSet presAssocID="{51EA2187-C2E7-432E-AABA-295E31E6AFA7}" presName="Name35" presStyleLbl="parChTrans1D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51649774-D5ED-44FD-BE41-76965159134D}" type="pres">
      <dgm:prSet presAssocID="{83D67256-2B2D-4F2A-978E-EFFB2BABCB46}" presName="hierRoot2" presStyleCnt="0">
        <dgm:presLayoutVars>
          <dgm:hierBranch val="init"/>
        </dgm:presLayoutVars>
      </dgm:prSet>
      <dgm:spPr/>
    </dgm:pt>
    <dgm:pt modelId="{F6649575-BAEA-4B66-B119-EB9351D30251}" type="pres">
      <dgm:prSet presAssocID="{83D67256-2B2D-4F2A-978E-EFFB2BABCB46}" presName="rootComposite" presStyleCnt="0"/>
      <dgm:spPr/>
    </dgm:pt>
    <dgm:pt modelId="{DAE66D97-9D2C-4CF2-B8D6-4FF5EED84CDE}" type="pres">
      <dgm:prSet presAssocID="{83D67256-2B2D-4F2A-978E-EFFB2BABCB46}" presName="rootText" presStyleLbl="node2" presStyleIdx="3" presStyleCnt="5" custLinFactNeighborX="-2921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DC7B210F-9AA8-48E4-BC8B-705643C89859}" type="pres">
      <dgm:prSet presAssocID="{83D67256-2B2D-4F2A-978E-EFFB2BABCB46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D6B25AAD-AB4D-43B4-B4EA-DF11D3023811}" type="pres">
      <dgm:prSet presAssocID="{83D67256-2B2D-4F2A-978E-EFFB2BABCB46}" presName="hierChild4" presStyleCnt="0"/>
      <dgm:spPr/>
    </dgm:pt>
    <dgm:pt modelId="{4C63A3A0-947B-445E-94DF-0E89D5B322FD}" type="pres">
      <dgm:prSet presAssocID="{83D67256-2B2D-4F2A-978E-EFFB2BABCB46}" presName="hierChild5" presStyleCnt="0"/>
      <dgm:spPr/>
    </dgm:pt>
    <dgm:pt modelId="{91C62195-0018-4517-BCEF-F79F88221AA6}" type="pres">
      <dgm:prSet presAssocID="{ADBF9A0D-6110-486D-95CE-48F4CE8112D1}" presName="Name35" presStyleLbl="parChTrans1D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4" presStyleCnt="5" custLinFactNeighborY="11490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6B753573-E0E1-4D33-A936-93934F8B8EE3}" type="presOf" srcId="{81F1D17E-5225-4876-A035-4C887440E0E2}" destId="{3965A6D7-7CC7-4B6F-A43B-1B77548D0291}" srcOrd="1" destOrd="0" presId="urn:microsoft.com/office/officeart/2005/8/layout/orgChart1"/>
    <dgm:cxn modelId="{CB790F93-5397-46D2-B4E7-33BF06A03BCE}" type="presOf" srcId="{81F1D17E-5225-4876-A035-4C887440E0E2}" destId="{FF91BB56-2C26-4665-98AF-93AEF8C2E353}" srcOrd="0" destOrd="0" presId="urn:microsoft.com/office/officeart/2005/8/layout/orgChart1"/>
    <dgm:cxn modelId="{C3AB6D29-02BA-4875-98FD-D40A28AF6ACB}" srcId="{BB39CC23-6641-4579-A09F-143D71D195CC}" destId="{83D67256-2B2D-4F2A-978E-EFFB2BABCB46}" srcOrd="3" destOrd="0" parTransId="{51EA2187-C2E7-432E-AABA-295E31E6AFA7}" sibTransId="{4CDCD402-54F8-4254-91D6-C8FE7DED8B8F}"/>
    <dgm:cxn modelId="{3E0BCBDD-889F-4D22-8FB4-0DF3FC66DD02}" srcId="{BB39CC23-6641-4579-A09F-143D71D195CC}" destId="{026B5E9E-C16B-4917-86D4-0AFFAA9A2CEF}" srcOrd="0" destOrd="0" parTransId="{B72E53B9-8C76-4F68-A93D-DC1C2C85EBB6}" sibTransId="{C0784082-0ABD-4AC6-A6F8-F85DDBEDA8D6}"/>
    <dgm:cxn modelId="{039C06FA-3A1C-4102-9BDA-56689876B1B4}" type="presOf" srcId="{ADBF9A0D-6110-486D-95CE-48F4CE8112D1}" destId="{91C62195-0018-4517-BCEF-F79F88221AA6}" srcOrd="0" destOrd="0" presId="urn:microsoft.com/office/officeart/2005/8/layout/orgChart1"/>
    <dgm:cxn modelId="{749BF994-C488-4C81-9D32-D511AD053209}" type="presOf" srcId="{FFB1546E-3EE6-42E5-B7F3-F3E37AAE5383}" destId="{B5B47C38-5A4E-4704-9E44-4DB44CD2C562}" srcOrd="0" destOrd="0" presId="urn:microsoft.com/office/officeart/2005/8/layout/orgChart1"/>
    <dgm:cxn modelId="{8D32CD37-D239-4879-9625-4972AFCEE0D3}" srcId="{BB39CC23-6641-4579-A09F-143D71D195CC}" destId="{81F1D17E-5225-4876-A035-4C887440E0E2}" srcOrd="4" destOrd="0" parTransId="{ADBF9A0D-6110-486D-95CE-48F4CE8112D1}" sibTransId="{D9887700-7671-44B7-887A-DB5656FD446A}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A95EEABA-6B75-4BFA-B46B-3858B9084535}" type="presOf" srcId="{955EC21A-D2AB-43C7-B9AF-2CCE5EBEA114}" destId="{9580ED63-5BB7-46D8-9182-4326D5974CC9}" srcOrd="1" destOrd="0" presId="urn:microsoft.com/office/officeart/2005/8/layout/orgChart1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814EF13D-2859-42FB-BC2A-4C539B8D6B32}" type="presOf" srcId="{6ACAC34D-5F2D-4238-85FD-FDB1B343519A}" destId="{5B9C14DC-79D6-480F-BA8E-DD5DCF3B8809}" srcOrd="1" destOrd="0" presId="urn:microsoft.com/office/officeart/2005/8/layout/orgChart1"/>
    <dgm:cxn modelId="{AAFC80B2-D73A-480D-8A7C-A589C983EEDE}" type="presOf" srcId="{B72E53B9-8C76-4F68-A93D-DC1C2C85EBB6}" destId="{5C887089-F75D-4BC7-9CA6-991BAFD3DFF2}" srcOrd="0" destOrd="0" presId="urn:microsoft.com/office/officeart/2005/8/layout/orgChart1"/>
    <dgm:cxn modelId="{061632B4-A0B8-487F-AB61-644C4D795C14}" srcId="{BB39CC23-6641-4579-A09F-143D71D195CC}" destId="{955EC21A-D2AB-43C7-B9AF-2CCE5EBEA114}" srcOrd="2" destOrd="0" parTransId="{FFB1546E-3EE6-42E5-B7F3-F3E37AAE5383}" sibTransId="{DE8D1923-073F-40BB-9F6C-883E94566E2B}"/>
    <dgm:cxn modelId="{A4301BED-1167-4D1C-8BF1-691F4BD2DD54}" type="presOf" srcId="{026B5E9E-C16B-4917-86D4-0AFFAA9A2CEF}" destId="{03D11B5C-7424-4D86-B264-48A9DEFD7AE8}" srcOrd="1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9E198F48-47EF-465C-868A-94AA3CB4102A}" type="presOf" srcId="{6ACAC34D-5F2D-4238-85FD-FDB1B343519A}" destId="{5E201424-3083-4AFD-ACAC-0FC29AAAB78B}" srcOrd="0" destOrd="0" presId="urn:microsoft.com/office/officeart/2005/8/layout/orgChart1"/>
    <dgm:cxn modelId="{A22928B1-2F97-461B-9504-252097739C64}" type="presOf" srcId="{51EA2187-C2E7-432E-AABA-295E31E6AFA7}" destId="{BFF2C5DD-D124-466C-9EAB-77FEDFF0781B}" srcOrd="0" destOrd="0" presId="urn:microsoft.com/office/officeart/2005/8/layout/orgChart1"/>
    <dgm:cxn modelId="{20DD522F-BD29-48AA-B068-D384A46E842C}" type="presOf" srcId="{83D67256-2B2D-4F2A-978E-EFFB2BABCB46}" destId="{DC7B210F-9AA8-48E4-BC8B-705643C89859}" srcOrd="1" destOrd="0" presId="urn:microsoft.com/office/officeart/2005/8/layout/orgChart1"/>
    <dgm:cxn modelId="{3B9A78AF-BDDF-4BE3-A0FF-819C244C19CD}" type="presOf" srcId="{83D67256-2B2D-4F2A-978E-EFFB2BABCB46}" destId="{DAE66D97-9D2C-4CF2-B8D6-4FF5EED84CDE}" srcOrd="0" destOrd="0" presId="urn:microsoft.com/office/officeart/2005/8/layout/orgChart1"/>
    <dgm:cxn modelId="{92732DF9-613E-46A4-92F2-C88E876CA39D}" type="presOf" srcId="{955EC21A-D2AB-43C7-B9AF-2CCE5EBEA114}" destId="{B5CACB56-ECE7-44CE-8274-BA4B7399DB2C}" srcOrd="0" destOrd="0" presId="urn:microsoft.com/office/officeart/2005/8/layout/orgChart1"/>
    <dgm:cxn modelId="{4D359CA5-4737-4CD0-9605-F3F8F07F9D13}" type="presOf" srcId="{63BDE043-00EF-48FD-97E2-BCBDA07AF672}" destId="{10183899-82B2-4747-BB2C-BE647FDB4545}" srcOrd="0" destOrd="0" presId="urn:microsoft.com/office/officeart/2005/8/layout/orgChart1"/>
    <dgm:cxn modelId="{5338D464-CEE6-4AD8-A19D-895AC3177D57}" type="presOf" srcId="{026B5E9E-C16B-4917-86D4-0AFFAA9A2CEF}" destId="{D67DBF64-1C7E-4956-A9BC-72C829784B68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1BFEFF3E-4423-45B8-B881-16D1DF488C7D}" type="presParOf" srcId="{D7F15C06-487B-4B54-87F8-D70D3E737C99}" destId="{5C887089-F75D-4BC7-9CA6-991BAFD3DFF2}" srcOrd="0" destOrd="0" presId="urn:microsoft.com/office/officeart/2005/8/layout/orgChart1"/>
    <dgm:cxn modelId="{42A4E319-E956-44D5-BEFE-1C725E279A44}" type="presParOf" srcId="{D7F15C06-487B-4B54-87F8-D70D3E737C99}" destId="{13A44D7D-3A85-4A35-A41D-FF40E3C53FB1}" srcOrd="1" destOrd="0" presId="urn:microsoft.com/office/officeart/2005/8/layout/orgChart1"/>
    <dgm:cxn modelId="{513B3DBE-5A6E-438B-BF9C-5E8AD69C92AD}" type="presParOf" srcId="{13A44D7D-3A85-4A35-A41D-FF40E3C53FB1}" destId="{98468E40-9574-4019-AEF6-4A670021D597}" srcOrd="0" destOrd="0" presId="urn:microsoft.com/office/officeart/2005/8/layout/orgChart1"/>
    <dgm:cxn modelId="{2F92A603-E574-43F3-BF39-770581A627EF}" type="presParOf" srcId="{98468E40-9574-4019-AEF6-4A670021D597}" destId="{D67DBF64-1C7E-4956-A9BC-72C829784B68}" srcOrd="0" destOrd="0" presId="urn:microsoft.com/office/officeart/2005/8/layout/orgChart1"/>
    <dgm:cxn modelId="{0A2B0527-3F29-43BA-9CB0-5CA427D6DF42}" type="presParOf" srcId="{98468E40-9574-4019-AEF6-4A670021D597}" destId="{03D11B5C-7424-4D86-B264-48A9DEFD7AE8}" srcOrd="1" destOrd="0" presId="urn:microsoft.com/office/officeart/2005/8/layout/orgChart1"/>
    <dgm:cxn modelId="{F86E03BB-30B0-4D84-AE6E-284B9878CDEF}" type="presParOf" srcId="{13A44D7D-3A85-4A35-A41D-FF40E3C53FB1}" destId="{581B4942-ECD4-4D4A-9BD4-792AE91B6F6B}" srcOrd="1" destOrd="0" presId="urn:microsoft.com/office/officeart/2005/8/layout/orgChart1"/>
    <dgm:cxn modelId="{B68841DA-0568-4ABF-8D90-CBF674F68F74}" type="presParOf" srcId="{13A44D7D-3A85-4A35-A41D-FF40E3C53FB1}" destId="{5E5D3129-9484-4590-B16D-014679EE2A68}" srcOrd="2" destOrd="0" presId="urn:microsoft.com/office/officeart/2005/8/layout/orgChart1"/>
    <dgm:cxn modelId="{0A63BCB7-3EA5-425A-89D7-8F032F3F691E}" type="presParOf" srcId="{D7F15C06-487B-4B54-87F8-D70D3E737C99}" destId="{10183899-82B2-4747-BB2C-BE647FDB4545}" srcOrd="2" destOrd="0" presId="urn:microsoft.com/office/officeart/2005/8/layout/orgChart1"/>
    <dgm:cxn modelId="{C4950873-D1B4-45A4-A8EB-F3BF5A464357}" type="presParOf" srcId="{D7F15C06-487B-4B54-87F8-D70D3E737C99}" destId="{D17D5A31-3CC1-41C8-A6CE-2D5142A019F9}" srcOrd="3" destOrd="0" presId="urn:microsoft.com/office/officeart/2005/8/layout/orgChart1"/>
    <dgm:cxn modelId="{E1FD385D-3D67-4950-8979-0B1D88CDB12A}" type="presParOf" srcId="{D17D5A31-3CC1-41C8-A6CE-2D5142A019F9}" destId="{9EC62997-3106-48B7-90ED-536B20C5BFB1}" srcOrd="0" destOrd="0" presId="urn:microsoft.com/office/officeart/2005/8/layout/orgChart1"/>
    <dgm:cxn modelId="{5B1D41F4-50E2-4851-9EC2-8B92FE3D5FF1}" type="presParOf" srcId="{9EC62997-3106-48B7-90ED-536B20C5BFB1}" destId="{5E201424-3083-4AFD-ACAC-0FC29AAAB78B}" srcOrd="0" destOrd="0" presId="urn:microsoft.com/office/officeart/2005/8/layout/orgChart1"/>
    <dgm:cxn modelId="{F34035E7-7505-473B-A2BA-D6D7B0360C4A}" type="presParOf" srcId="{9EC62997-3106-48B7-90ED-536B20C5BFB1}" destId="{5B9C14DC-79D6-480F-BA8E-DD5DCF3B8809}" srcOrd="1" destOrd="0" presId="urn:microsoft.com/office/officeart/2005/8/layout/orgChart1"/>
    <dgm:cxn modelId="{DAE4D738-1482-4252-828F-CEF3AF2A8339}" type="presParOf" srcId="{D17D5A31-3CC1-41C8-A6CE-2D5142A019F9}" destId="{B1F509AA-C903-44E5-89C0-3DF3E22362AC}" srcOrd="1" destOrd="0" presId="urn:microsoft.com/office/officeart/2005/8/layout/orgChart1"/>
    <dgm:cxn modelId="{0485ED75-624A-434C-812B-EABFE30DCD1B}" type="presParOf" srcId="{D17D5A31-3CC1-41C8-A6CE-2D5142A019F9}" destId="{3B194C3C-CF1F-4746-9124-F3D713DC67A9}" srcOrd="2" destOrd="0" presId="urn:microsoft.com/office/officeart/2005/8/layout/orgChart1"/>
    <dgm:cxn modelId="{570D16D6-C43C-4FF1-B31C-606E5B5FCB1E}" type="presParOf" srcId="{D7F15C06-487B-4B54-87F8-D70D3E737C99}" destId="{B5B47C38-5A4E-4704-9E44-4DB44CD2C562}" srcOrd="4" destOrd="0" presId="urn:microsoft.com/office/officeart/2005/8/layout/orgChart1"/>
    <dgm:cxn modelId="{9F20C1D8-6CFE-4BA4-8338-59190ACAD83E}" type="presParOf" srcId="{D7F15C06-487B-4B54-87F8-D70D3E737C99}" destId="{3E8113F3-FB52-4A79-AB10-B34E495AC85A}" srcOrd="5" destOrd="0" presId="urn:microsoft.com/office/officeart/2005/8/layout/orgChart1"/>
    <dgm:cxn modelId="{B46631A3-AF01-4134-BE49-A3E32B84FF16}" type="presParOf" srcId="{3E8113F3-FB52-4A79-AB10-B34E495AC85A}" destId="{C66F961E-4982-480C-8A4A-E3F2425764AE}" srcOrd="0" destOrd="0" presId="urn:microsoft.com/office/officeart/2005/8/layout/orgChart1"/>
    <dgm:cxn modelId="{45C79C34-2A1E-4B0B-8059-46C283BB00B2}" type="presParOf" srcId="{C66F961E-4982-480C-8A4A-E3F2425764AE}" destId="{B5CACB56-ECE7-44CE-8274-BA4B7399DB2C}" srcOrd="0" destOrd="0" presId="urn:microsoft.com/office/officeart/2005/8/layout/orgChart1"/>
    <dgm:cxn modelId="{56DF32EE-055B-4927-93C2-8E83F1F5A254}" type="presParOf" srcId="{C66F961E-4982-480C-8A4A-E3F2425764AE}" destId="{9580ED63-5BB7-46D8-9182-4326D5974CC9}" srcOrd="1" destOrd="0" presId="urn:microsoft.com/office/officeart/2005/8/layout/orgChart1"/>
    <dgm:cxn modelId="{D7BB0DA4-9412-4332-96A4-FA4D67054010}" type="presParOf" srcId="{3E8113F3-FB52-4A79-AB10-B34E495AC85A}" destId="{1C0F38BE-AC55-4239-B729-5CBD21329E64}" srcOrd="1" destOrd="0" presId="urn:microsoft.com/office/officeart/2005/8/layout/orgChart1"/>
    <dgm:cxn modelId="{53010640-0F79-41EB-8A76-6280C4D988C1}" type="presParOf" srcId="{3E8113F3-FB52-4A79-AB10-B34E495AC85A}" destId="{F7ADB428-85DB-466B-B75C-D599413205BE}" srcOrd="2" destOrd="0" presId="urn:microsoft.com/office/officeart/2005/8/layout/orgChart1"/>
    <dgm:cxn modelId="{34BA7F2E-F321-4643-9864-37E968980324}" type="presParOf" srcId="{D7F15C06-487B-4B54-87F8-D70D3E737C99}" destId="{BFF2C5DD-D124-466C-9EAB-77FEDFF0781B}" srcOrd="6" destOrd="0" presId="urn:microsoft.com/office/officeart/2005/8/layout/orgChart1"/>
    <dgm:cxn modelId="{CC9A8816-9346-49D3-8D48-62467ED9B130}" type="presParOf" srcId="{D7F15C06-487B-4B54-87F8-D70D3E737C99}" destId="{51649774-D5ED-44FD-BE41-76965159134D}" srcOrd="7" destOrd="0" presId="urn:microsoft.com/office/officeart/2005/8/layout/orgChart1"/>
    <dgm:cxn modelId="{24F8DC0C-F010-4ADA-BB04-B86EF51A1E26}" type="presParOf" srcId="{51649774-D5ED-44FD-BE41-76965159134D}" destId="{F6649575-BAEA-4B66-B119-EB9351D30251}" srcOrd="0" destOrd="0" presId="urn:microsoft.com/office/officeart/2005/8/layout/orgChart1"/>
    <dgm:cxn modelId="{BD4FAE95-BF3C-4F61-85B4-1D57D3175692}" type="presParOf" srcId="{F6649575-BAEA-4B66-B119-EB9351D30251}" destId="{DAE66D97-9D2C-4CF2-B8D6-4FF5EED84CDE}" srcOrd="0" destOrd="0" presId="urn:microsoft.com/office/officeart/2005/8/layout/orgChart1"/>
    <dgm:cxn modelId="{B2090827-7BF8-4B87-A45D-A0F3CAAA7359}" type="presParOf" srcId="{F6649575-BAEA-4B66-B119-EB9351D30251}" destId="{DC7B210F-9AA8-48E4-BC8B-705643C89859}" srcOrd="1" destOrd="0" presId="urn:microsoft.com/office/officeart/2005/8/layout/orgChart1"/>
    <dgm:cxn modelId="{DC1806CD-8A08-45C5-A508-F7601297D10C}" type="presParOf" srcId="{51649774-D5ED-44FD-BE41-76965159134D}" destId="{D6B25AAD-AB4D-43B4-B4EA-DF11D3023811}" srcOrd="1" destOrd="0" presId="urn:microsoft.com/office/officeart/2005/8/layout/orgChart1"/>
    <dgm:cxn modelId="{C420B9EA-566D-4D59-B584-53EC76CE818A}" type="presParOf" srcId="{51649774-D5ED-44FD-BE41-76965159134D}" destId="{4C63A3A0-947B-445E-94DF-0E89D5B322FD}" srcOrd="2" destOrd="0" presId="urn:microsoft.com/office/officeart/2005/8/layout/orgChart1"/>
    <dgm:cxn modelId="{7E571915-86FE-4715-AEDC-1F7B467C7F10}" type="presParOf" srcId="{D7F15C06-487B-4B54-87F8-D70D3E737C99}" destId="{91C62195-0018-4517-BCEF-F79F88221AA6}" srcOrd="8" destOrd="0" presId="urn:microsoft.com/office/officeart/2005/8/layout/orgChart1"/>
    <dgm:cxn modelId="{1E8CAB0B-A3F4-4D95-A962-1B787717E39D}" type="presParOf" srcId="{D7F15C06-487B-4B54-87F8-D70D3E737C99}" destId="{D0A9DB89-2979-4EDA-B38B-2FF91EE5C9AE}" srcOrd="9" destOrd="0" presId="urn:microsoft.com/office/officeart/2005/8/layout/orgChart1"/>
    <dgm:cxn modelId="{50D0A4C8-3729-4DCE-B75D-75E592BECCF4}" type="presParOf" srcId="{D0A9DB89-2979-4EDA-B38B-2FF91EE5C9AE}" destId="{C074DCBF-0EF7-4E65-BC6F-9B8BE16A664B}" srcOrd="0" destOrd="0" presId="urn:microsoft.com/office/officeart/2005/8/layout/orgChart1"/>
    <dgm:cxn modelId="{68F3E555-FD6E-4243-B519-54624BAFEAB2}" type="presParOf" srcId="{C074DCBF-0EF7-4E65-BC6F-9B8BE16A664B}" destId="{FF91BB56-2C26-4665-98AF-93AEF8C2E353}" srcOrd="0" destOrd="0" presId="urn:microsoft.com/office/officeart/2005/8/layout/orgChart1"/>
    <dgm:cxn modelId="{2F6D3AF5-F0AE-4D35-9CE9-D440C5BC561E}" type="presParOf" srcId="{C074DCBF-0EF7-4E65-BC6F-9B8BE16A664B}" destId="{3965A6D7-7CC7-4B6F-A43B-1B77548D0291}" srcOrd="1" destOrd="0" presId="urn:microsoft.com/office/officeart/2005/8/layout/orgChart1"/>
    <dgm:cxn modelId="{E624796D-C03C-4593-957A-411900F1C72D}" type="presParOf" srcId="{D0A9DB89-2979-4EDA-B38B-2FF91EE5C9AE}" destId="{FD47114A-0FCF-4673-ACC5-CD2C92D45224}" srcOrd="1" destOrd="0" presId="urn:microsoft.com/office/officeart/2005/8/layout/orgChart1"/>
    <dgm:cxn modelId="{62114D82-422C-445E-9DB4-428A6912850F}" type="presParOf" srcId="{D0A9DB89-2979-4EDA-B38B-2FF91EE5C9AE}" destId="{87BC8F90-9C8F-49DA-A408-A08B48203C5F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검색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조회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테마별</a:t>
          </a:r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 </a:t>
          </a:r>
          <a:r>
            <a:rPr lang="ko-KR" altLang="en-US" sz="20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  <a:endParaRPr lang="ko-KR" altLang="en-US" sz="20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1F126DB9-F126-4418-B903-DD43E603F09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20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등록</a:t>
          </a:r>
        </a:p>
      </dgm:t>
    </dgm:pt>
    <dgm:pt modelId="{9EC1F263-3D32-4C7F-89BA-A78A54531848}" type="parTrans" cxnId="{392C7ADD-FECE-490A-A52E-86BDBC7EDC41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E2875794-69EE-4AA1-B334-BC411A9F31C8}" type="sibTrans" cxnId="{392C7ADD-FECE-490A-A52E-86BDBC7EDC41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 custLinFactNeighborY="-99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D8339683-FD12-45C2-A60E-5808D8CB10E9}" type="pres">
      <dgm:prSet presAssocID="{63BDE043-00EF-48FD-97E2-BCBDA07AF672}" presName="Name35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0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95092C86-2301-4A46-9195-8A6BF4409F55}" type="pres">
      <dgm:prSet presAssocID="{FFB1546E-3EE6-42E5-B7F3-F3E37AAE5383}" presName="Name35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1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310DE177-8222-4D71-AF4F-1405C3F6732D}" type="pres">
      <dgm:prSet presAssocID="{ADBF9A0D-6110-486D-95CE-48F4CE8112D1}" presName="Name35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2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63B13F59-E888-480C-9F38-5686D677B547}" type="pres">
      <dgm:prSet presAssocID="{9EC1F263-3D32-4C7F-89BA-A78A54531848}" presName="Name35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640720FD-F135-4016-89AE-7D3C11FEA3A1}" type="pres">
      <dgm:prSet presAssocID="{1F126DB9-F126-4418-B903-DD43E603F096}" presName="hierRoot2" presStyleCnt="0">
        <dgm:presLayoutVars>
          <dgm:hierBranch val="init"/>
        </dgm:presLayoutVars>
      </dgm:prSet>
      <dgm:spPr/>
    </dgm:pt>
    <dgm:pt modelId="{A29F3C68-52E9-4FAA-80B9-099685ADC0AC}" type="pres">
      <dgm:prSet presAssocID="{1F126DB9-F126-4418-B903-DD43E603F096}" presName="rootComposite" presStyleCnt="0"/>
      <dgm:spPr/>
    </dgm:pt>
    <dgm:pt modelId="{AA99C2C6-EE03-4377-B96E-0651630D362D}" type="pres">
      <dgm:prSet presAssocID="{1F126DB9-F126-4418-B903-DD43E603F096}" presName="rootText" presStyleLbl="node2" presStyleIdx="3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7863C5B-806B-4BF9-80C3-F598047FA19F}" type="pres">
      <dgm:prSet presAssocID="{1F126DB9-F126-4418-B903-DD43E603F096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4CD00401-FC82-486B-B456-D4B937CD59E0}" type="pres">
      <dgm:prSet presAssocID="{1F126DB9-F126-4418-B903-DD43E603F096}" presName="hierChild4" presStyleCnt="0"/>
      <dgm:spPr/>
    </dgm:pt>
    <dgm:pt modelId="{069B80AE-CD80-43B6-8EA9-58E9E5279AC7}" type="pres">
      <dgm:prSet presAssocID="{1F126DB9-F126-4418-B903-DD43E603F096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78CFDFA3-4CE0-4A7B-A0D2-ADD1BB2A5A00}" type="presOf" srcId="{1F126DB9-F126-4418-B903-DD43E603F096}" destId="{27863C5B-806B-4BF9-80C3-F598047FA19F}" srcOrd="1" destOrd="0" presId="urn:microsoft.com/office/officeart/2005/8/layout/orgChart1"/>
    <dgm:cxn modelId="{780B7961-3999-43E3-AE77-42633652E2E2}" type="presOf" srcId="{6ACAC34D-5F2D-4238-85FD-FDB1B343519A}" destId="{5B9C14DC-79D6-480F-BA8E-DD5DCF3B8809}" srcOrd="1" destOrd="0" presId="urn:microsoft.com/office/officeart/2005/8/layout/orgChart1"/>
    <dgm:cxn modelId="{8D32CD37-D239-4879-9625-4972AFCEE0D3}" srcId="{BB39CC23-6641-4579-A09F-143D71D195CC}" destId="{81F1D17E-5225-4876-A035-4C887440E0E2}" srcOrd="2" destOrd="0" parTransId="{ADBF9A0D-6110-486D-95CE-48F4CE8112D1}" sibTransId="{D9887700-7671-44B7-887A-DB5656FD446A}"/>
    <dgm:cxn modelId="{A221F789-1DB7-4EEA-8396-EB8D76F43CCD}" type="presOf" srcId="{FFB1546E-3EE6-42E5-B7F3-F3E37AAE5383}" destId="{95092C86-2301-4A46-9195-8A6BF4409F55}" srcOrd="0" destOrd="0" presId="urn:microsoft.com/office/officeart/2005/8/layout/orgChart1"/>
    <dgm:cxn modelId="{BB483B39-7570-4625-9D55-016354C88609}" type="presOf" srcId="{63BDE043-00EF-48FD-97E2-BCBDA07AF672}" destId="{D8339683-FD12-45C2-A60E-5808D8CB10E9}" srcOrd="0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CF8B6C49-3315-4A6E-85FB-DFD4CB7349B2}" type="presOf" srcId="{9EC1F263-3D32-4C7F-89BA-A78A54531848}" destId="{63B13F59-E888-480C-9F38-5686D677B547}" srcOrd="0" destOrd="0" presId="urn:microsoft.com/office/officeart/2005/8/layout/orgChart1"/>
    <dgm:cxn modelId="{392C7ADD-FECE-490A-A52E-86BDBC7EDC41}" srcId="{BB39CC23-6641-4579-A09F-143D71D195CC}" destId="{1F126DB9-F126-4418-B903-DD43E603F096}" srcOrd="3" destOrd="0" parTransId="{9EC1F263-3D32-4C7F-89BA-A78A54531848}" sibTransId="{E2875794-69EE-4AA1-B334-BC411A9F31C8}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0" destOrd="0" parTransId="{63BDE043-00EF-48FD-97E2-BCBDA07AF672}" sibTransId="{20D0EBA7-3799-43AD-AF9D-94A3D5ED744C}"/>
    <dgm:cxn modelId="{56DB4485-27FF-4458-B86E-3234BACCF893}" type="presOf" srcId="{81F1D17E-5225-4876-A035-4C887440E0E2}" destId="{3965A6D7-7CC7-4B6F-A43B-1B77548D0291}" srcOrd="1" destOrd="0" presId="urn:microsoft.com/office/officeart/2005/8/layout/orgChart1"/>
    <dgm:cxn modelId="{061632B4-A0B8-487F-AB61-644C4D795C14}" srcId="{BB39CC23-6641-4579-A09F-143D71D195CC}" destId="{955EC21A-D2AB-43C7-B9AF-2CCE5EBEA114}" srcOrd="1" destOrd="0" parTransId="{FFB1546E-3EE6-42E5-B7F3-F3E37AAE5383}" sibTransId="{DE8D1923-073F-40BB-9F6C-883E94566E2B}"/>
    <dgm:cxn modelId="{C4D5CCD4-AAB2-4B46-AFA7-A051BCABE943}" type="presOf" srcId="{955EC21A-D2AB-43C7-B9AF-2CCE5EBEA114}" destId="{9580ED63-5BB7-46D8-9182-4326D5974CC9}" srcOrd="1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47BCB485-A17A-4671-ACD1-E00EDF550E1B}" type="presOf" srcId="{81F1D17E-5225-4876-A035-4C887440E0E2}" destId="{FF91BB56-2C26-4665-98AF-93AEF8C2E353}" srcOrd="0" destOrd="0" presId="urn:microsoft.com/office/officeart/2005/8/layout/orgChart1"/>
    <dgm:cxn modelId="{76246B09-8A63-4988-ACBD-771AB7DFF75A}" type="presOf" srcId="{ADBF9A0D-6110-486D-95CE-48F4CE8112D1}" destId="{310DE177-8222-4D71-AF4F-1405C3F6732D}" srcOrd="0" destOrd="0" presId="urn:microsoft.com/office/officeart/2005/8/layout/orgChart1"/>
    <dgm:cxn modelId="{5502FEFE-F3F6-4D46-B668-B56126D4C150}" type="presOf" srcId="{955EC21A-D2AB-43C7-B9AF-2CCE5EBEA114}" destId="{B5CACB56-ECE7-44CE-8274-BA4B7399DB2C}" srcOrd="0" destOrd="0" presId="urn:microsoft.com/office/officeart/2005/8/layout/orgChart1"/>
    <dgm:cxn modelId="{55D4648F-4046-49F2-A67F-34FF7E21BDB1}" type="presOf" srcId="{6ACAC34D-5F2D-4238-85FD-FDB1B343519A}" destId="{5E201424-3083-4AFD-ACAC-0FC29AAAB78B}" srcOrd="0" destOrd="0" presId="urn:microsoft.com/office/officeart/2005/8/layout/orgChart1"/>
    <dgm:cxn modelId="{0CA6BBCF-99F1-40BE-8A7B-17DED6C2CD7C}" type="presOf" srcId="{1F126DB9-F126-4418-B903-DD43E603F096}" destId="{AA99C2C6-EE03-4377-B96E-0651630D362D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EE1E8AB4-C9D7-467D-ADED-C5AD2EF9F9F5}" type="presParOf" srcId="{D7F15C06-487B-4B54-87F8-D70D3E737C99}" destId="{D8339683-FD12-45C2-A60E-5808D8CB10E9}" srcOrd="0" destOrd="0" presId="urn:microsoft.com/office/officeart/2005/8/layout/orgChart1"/>
    <dgm:cxn modelId="{5D25E773-0C5D-4751-AD83-D2239C3C335C}" type="presParOf" srcId="{D7F15C06-487B-4B54-87F8-D70D3E737C99}" destId="{D17D5A31-3CC1-41C8-A6CE-2D5142A019F9}" srcOrd="1" destOrd="0" presId="urn:microsoft.com/office/officeart/2005/8/layout/orgChart1"/>
    <dgm:cxn modelId="{34680B2D-37A5-4564-8DB8-BF43ADA1DD42}" type="presParOf" srcId="{D17D5A31-3CC1-41C8-A6CE-2D5142A019F9}" destId="{9EC62997-3106-48B7-90ED-536B20C5BFB1}" srcOrd="0" destOrd="0" presId="urn:microsoft.com/office/officeart/2005/8/layout/orgChart1"/>
    <dgm:cxn modelId="{CC4B7326-5F64-45C3-B8B2-FA46FE974060}" type="presParOf" srcId="{9EC62997-3106-48B7-90ED-536B20C5BFB1}" destId="{5E201424-3083-4AFD-ACAC-0FC29AAAB78B}" srcOrd="0" destOrd="0" presId="urn:microsoft.com/office/officeart/2005/8/layout/orgChart1"/>
    <dgm:cxn modelId="{8FEB4912-869D-45AC-BE6B-04E9070A3E2C}" type="presParOf" srcId="{9EC62997-3106-48B7-90ED-536B20C5BFB1}" destId="{5B9C14DC-79D6-480F-BA8E-DD5DCF3B8809}" srcOrd="1" destOrd="0" presId="urn:microsoft.com/office/officeart/2005/8/layout/orgChart1"/>
    <dgm:cxn modelId="{350FC4CD-1237-454C-A895-8236013B3788}" type="presParOf" srcId="{D17D5A31-3CC1-41C8-A6CE-2D5142A019F9}" destId="{B1F509AA-C903-44E5-89C0-3DF3E22362AC}" srcOrd="1" destOrd="0" presId="urn:microsoft.com/office/officeart/2005/8/layout/orgChart1"/>
    <dgm:cxn modelId="{1F43ECD1-6A00-4245-B32D-8B31908FC16F}" type="presParOf" srcId="{D17D5A31-3CC1-41C8-A6CE-2D5142A019F9}" destId="{3B194C3C-CF1F-4746-9124-F3D713DC67A9}" srcOrd="2" destOrd="0" presId="urn:microsoft.com/office/officeart/2005/8/layout/orgChart1"/>
    <dgm:cxn modelId="{0C28AE0D-76CE-4A8B-9B94-B6E164D5BF84}" type="presParOf" srcId="{D7F15C06-487B-4B54-87F8-D70D3E737C99}" destId="{95092C86-2301-4A46-9195-8A6BF4409F55}" srcOrd="2" destOrd="0" presId="urn:microsoft.com/office/officeart/2005/8/layout/orgChart1"/>
    <dgm:cxn modelId="{37776749-9AED-4C3D-AE09-FD6CA7A287EA}" type="presParOf" srcId="{D7F15C06-487B-4B54-87F8-D70D3E737C99}" destId="{3E8113F3-FB52-4A79-AB10-B34E495AC85A}" srcOrd="3" destOrd="0" presId="urn:microsoft.com/office/officeart/2005/8/layout/orgChart1"/>
    <dgm:cxn modelId="{097C8748-0E92-446C-A882-355BD0FEAD39}" type="presParOf" srcId="{3E8113F3-FB52-4A79-AB10-B34E495AC85A}" destId="{C66F961E-4982-480C-8A4A-E3F2425764AE}" srcOrd="0" destOrd="0" presId="urn:microsoft.com/office/officeart/2005/8/layout/orgChart1"/>
    <dgm:cxn modelId="{6BDC9AF9-6067-4831-9A93-F71F2E8C3411}" type="presParOf" srcId="{C66F961E-4982-480C-8A4A-E3F2425764AE}" destId="{B5CACB56-ECE7-44CE-8274-BA4B7399DB2C}" srcOrd="0" destOrd="0" presId="urn:microsoft.com/office/officeart/2005/8/layout/orgChart1"/>
    <dgm:cxn modelId="{669714D0-1363-4055-8D9E-E47455066B4A}" type="presParOf" srcId="{C66F961E-4982-480C-8A4A-E3F2425764AE}" destId="{9580ED63-5BB7-46D8-9182-4326D5974CC9}" srcOrd="1" destOrd="0" presId="urn:microsoft.com/office/officeart/2005/8/layout/orgChart1"/>
    <dgm:cxn modelId="{ED0FA893-BF46-4D37-BC5D-C83FE0EA38E5}" type="presParOf" srcId="{3E8113F3-FB52-4A79-AB10-B34E495AC85A}" destId="{1C0F38BE-AC55-4239-B729-5CBD21329E64}" srcOrd="1" destOrd="0" presId="urn:microsoft.com/office/officeart/2005/8/layout/orgChart1"/>
    <dgm:cxn modelId="{3C93BE9D-7859-48E1-852C-EFB7CFC63BED}" type="presParOf" srcId="{3E8113F3-FB52-4A79-AB10-B34E495AC85A}" destId="{F7ADB428-85DB-466B-B75C-D599413205BE}" srcOrd="2" destOrd="0" presId="urn:microsoft.com/office/officeart/2005/8/layout/orgChart1"/>
    <dgm:cxn modelId="{1F0DD038-7109-468D-BA6F-904A83453B8C}" type="presParOf" srcId="{D7F15C06-487B-4B54-87F8-D70D3E737C99}" destId="{310DE177-8222-4D71-AF4F-1405C3F6732D}" srcOrd="4" destOrd="0" presId="urn:microsoft.com/office/officeart/2005/8/layout/orgChart1"/>
    <dgm:cxn modelId="{E8C020EB-BEFE-4692-87A4-42FD64D837F2}" type="presParOf" srcId="{D7F15C06-487B-4B54-87F8-D70D3E737C99}" destId="{D0A9DB89-2979-4EDA-B38B-2FF91EE5C9AE}" srcOrd="5" destOrd="0" presId="urn:microsoft.com/office/officeart/2005/8/layout/orgChart1"/>
    <dgm:cxn modelId="{6F83ED77-0108-48FF-8729-8694FD572C83}" type="presParOf" srcId="{D0A9DB89-2979-4EDA-B38B-2FF91EE5C9AE}" destId="{C074DCBF-0EF7-4E65-BC6F-9B8BE16A664B}" srcOrd="0" destOrd="0" presId="urn:microsoft.com/office/officeart/2005/8/layout/orgChart1"/>
    <dgm:cxn modelId="{90004ACA-F5D5-4DDD-8F26-88EBF4787196}" type="presParOf" srcId="{C074DCBF-0EF7-4E65-BC6F-9B8BE16A664B}" destId="{FF91BB56-2C26-4665-98AF-93AEF8C2E353}" srcOrd="0" destOrd="0" presId="urn:microsoft.com/office/officeart/2005/8/layout/orgChart1"/>
    <dgm:cxn modelId="{F0EC03BC-EFD4-4BA6-BDCA-D800E5E4E235}" type="presParOf" srcId="{C074DCBF-0EF7-4E65-BC6F-9B8BE16A664B}" destId="{3965A6D7-7CC7-4B6F-A43B-1B77548D0291}" srcOrd="1" destOrd="0" presId="urn:microsoft.com/office/officeart/2005/8/layout/orgChart1"/>
    <dgm:cxn modelId="{5A4C712E-2978-4A0D-BFF8-2F16CF494AC7}" type="presParOf" srcId="{D0A9DB89-2979-4EDA-B38B-2FF91EE5C9AE}" destId="{FD47114A-0FCF-4673-ACC5-CD2C92D45224}" srcOrd="1" destOrd="0" presId="urn:microsoft.com/office/officeart/2005/8/layout/orgChart1"/>
    <dgm:cxn modelId="{AC83B154-1B0B-4D81-B00F-33174D74CA33}" type="presParOf" srcId="{D0A9DB89-2979-4EDA-B38B-2FF91EE5C9AE}" destId="{87BC8F90-9C8F-49DA-A408-A08B48203C5F}" srcOrd="2" destOrd="0" presId="urn:microsoft.com/office/officeart/2005/8/layout/orgChart1"/>
    <dgm:cxn modelId="{20625A96-D37A-4DF8-9E39-C382B67822EE}" type="presParOf" srcId="{D7F15C06-487B-4B54-87F8-D70D3E737C99}" destId="{63B13F59-E888-480C-9F38-5686D677B547}" srcOrd="6" destOrd="0" presId="urn:microsoft.com/office/officeart/2005/8/layout/orgChart1"/>
    <dgm:cxn modelId="{9F7E9DDD-6D8D-41D4-A6E5-D24407B04031}" type="presParOf" srcId="{D7F15C06-487B-4B54-87F8-D70D3E737C99}" destId="{640720FD-F135-4016-89AE-7D3C11FEA3A1}" srcOrd="7" destOrd="0" presId="urn:microsoft.com/office/officeart/2005/8/layout/orgChart1"/>
    <dgm:cxn modelId="{13B59128-7F4B-4EBE-B15D-9849843ACBCE}" type="presParOf" srcId="{640720FD-F135-4016-89AE-7D3C11FEA3A1}" destId="{A29F3C68-52E9-4FAA-80B9-099685ADC0AC}" srcOrd="0" destOrd="0" presId="urn:microsoft.com/office/officeart/2005/8/layout/orgChart1"/>
    <dgm:cxn modelId="{7B309A88-757D-4369-AFFD-5F9208E2AEF8}" type="presParOf" srcId="{A29F3C68-52E9-4FAA-80B9-099685ADC0AC}" destId="{AA99C2C6-EE03-4377-B96E-0651630D362D}" srcOrd="0" destOrd="0" presId="urn:microsoft.com/office/officeart/2005/8/layout/orgChart1"/>
    <dgm:cxn modelId="{1C632EA4-0BE9-42DD-BD2D-AB7204910EFD}" type="presParOf" srcId="{A29F3C68-52E9-4FAA-80B9-099685ADC0AC}" destId="{27863C5B-806B-4BF9-80C3-F598047FA19F}" srcOrd="1" destOrd="0" presId="urn:microsoft.com/office/officeart/2005/8/layout/orgChart1"/>
    <dgm:cxn modelId="{0C7C167A-C344-4B8C-9515-6623E8C258FD}" type="presParOf" srcId="{640720FD-F135-4016-89AE-7D3C11FEA3A1}" destId="{4CD00401-FC82-486B-B456-D4B937CD59E0}" srcOrd="1" destOrd="0" presId="urn:microsoft.com/office/officeart/2005/8/layout/orgChart1"/>
    <dgm:cxn modelId="{8FE18CC2-5932-4400-9F5D-4CEA97148A36}" type="presParOf" srcId="{640720FD-F135-4016-89AE-7D3C11FEA3A1}" destId="{069B80AE-CD80-43B6-8EA9-58E9E5279AC7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급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/</a:t>
          </a: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포인트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즐겨 찾는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/>
        </a:p>
      </dgm:t>
    </dgm:pt>
    <dgm:pt modelId="{1F126DB9-F126-4418-B903-DD43E603F09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월 별 식단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관리</a:t>
          </a:r>
        </a:p>
      </dgm:t>
    </dgm:pt>
    <dgm:pt modelId="{9EC1F263-3D32-4C7F-89BA-A78A54531848}" type="parTrans" cxnId="{392C7ADD-FECE-490A-A52E-86BDBC7EDC41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E2875794-69EE-4AA1-B334-BC411A9F31C8}" type="sibTrans" cxnId="{392C7ADD-FECE-490A-A52E-86BDBC7EDC41}">
      <dgm:prSet/>
      <dgm:spPr/>
      <dgm:t>
        <a:bodyPr/>
        <a:lstStyle/>
        <a:p>
          <a:pPr latinLnBrk="1"/>
          <a:endParaRPr lang="ko-KR" altLang="en-US"/>
        </a:p>
      </dgm:t>
    </dgm:pt>
    <dgm:pt modelId="{E5E7B287-0F9E-4D5F-98CD-E4766788D956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칼로리계산기</a:t>
          </a:r>
        </a:p>
      </dgm:t>
    </dgm:pt>
    <dgm:pt modelId="{22F0FA33-4D7C-4857-A69C-921D2822BB80}" type="parTrans" cxnId="{2B9468DE-E183-4287-A178-1FD679366D6D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D069DB4A-4EF4-4FF8-B106-E993111C7544}" type="sibTrans" cxnId="{2B9468DE-E183-4287-A178-1FD679366D6D}">
      <dgm:prSet/>
      <dgm:spPr/>
      <dgm:t>
        <a:bodyPr/>
        <a:lstStyle/>
        <a:p>
          <a:pPr latinLnBrk="1"/>
          <a:endParaRPr lang="ko-KR" altLang="en-US"/>
        </a:p>
      </dgm:t>
    </dgm:pt>
    <dgm:pt modelId="{CBFA51A4-CB08-4A50-8480-354EBD9D7157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 정보</a:t>
          </a:r>
          <a: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조회</a:t>
          </a:r>
        </a:p>
      </dgm:t>
    </dgm:pt>
    <dgm:pt modelId="{D932DE45-75BE-44FD-9686-B6FC67F99451}" type="parTrans" cxnId="{81BF6145-133B-4DDE-8FD4-99557219B53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18C93E52-404D-4E9E-8FB6-C4E7CEBCD813}" type="sibTrans" cxnId="{81BF6145-133B-4DDE-8FD4-99557219B534}">
      <dgm:prSet/>
      <dgm:spPr/>
      <dgm:t>
        <a:bodyPr/>
        <a:lstStyle/>
        <a:p>
          <a:pPr latinLnBrk="1"/>
          <a:endParaRPr lang="ko-KR" altLang="en-US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7CD8EE3F-98CE-4FD2-8D73-EFFEB2BDF228}" type="pres">
      <dgm:prSet presAssocID="{D932DE45-75BE-44FD-9686-B6FC67F99451}" presName="Name35" presStyleLbl="parChTrans1D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47E1A566-9B4A-4D53-8922-3C536081AD5F}" type="pres">
      <dgm:prSet presAssocID="{CBFA51A4-CB08-4A50-8480-354EBD9D7157}" presName="hierRoot2" presStyleCnt="0">
        <dgm:presLayoutVars>
          <dgm:hierBranch val="init"/>
        </dgm:presLayoutVars>
      </dgm:prSet>
      <dgm:spPr/>
    </dgm:pt>
    <dgm:pt modelId="{215B61B2-1217-4A22-9BE7-2EABEF95D2E0}" type="pres">
      <dgm:prSet presAssocID="{CBFA51A4-CB08-4A50-8480-354EBD9D7157}" presName="rootComposite" presStyleCnt="0"/>
      <dgm:spPr/>
    </dgm:pt>
    <dgm:pt modelId="{1667C80E-7435-4C84-BFF5-5C8DEA5A00FC}" type="pres">
      <dgm:prSet presAssocID="{CBFA51A4-CB08-4A50-8480-354EBD9D7157}" presName="rootText" presStyleLbl="node2" presStyleIdx="0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EEF645B9-B5B3-4875-AF2D-50AC9DD46C0B}" type="pres">
      <dgm:prSet presAssocID="{CBFA51A4-CB08-4A50-8480-354EBD9D7157}" presName="rootConnector" presStyleLbl="node2" presStyleIdx="0" presStyleCnt="5"/>
      <dgm:spPr/>
      <dgm:t>
        <a:bodyPr/>
        <a:lstStyle/>
        <a:p>
          <a:pPr latinLnBrk="1"/>
          <a:endParaRPr lang="ko-KR" altLang="en-US"/>
        </a:p>
      </dgm:t>
    </dgm:pt>
    <dgm:pt modelId="{8A063993-39B6-487B-9913-1FF6F408495F}" type="pres">
      <dgm:prSet presAssocID="{CBFA51A4-CB08-4A50-8480-354EBD9D7157}" presName="hierChild4" presStyleCnt="0"/>
      <dgm:spPr/>
    </dgm:pt>
    <dgm:pt modelId="{4D08425E-0897-4691-852D-04BB23288300}" type="pres">
      <dgm:prSet presAssocID="{CBFA51A4-CB08-4A50-8480-354EBD9D7157}" presName="hierChild5" presStyleCnt="0"/>
      <dgm:spPr/>
    </dgm:pt>
    <dgm:pt modelId="{D8339683-FD12-45C2-A60E-5808D8CB10E9}" type="pres">
      <dgm:prSet presAssocID="{63BDE043-00EF-48FD-97E2-BCBDA07AF672}" presName="Name35" presStyleLbl="parChTrans1D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5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310DE177-8222-4D71-AF4F-1405C3F6732D}" type="pres">
      <dgm:prSet presAssocID="{ADBF9A0D-6110-486D-95CE-48F4CE8112D1}" presName="Name35" presStyleLbl="parChTrans1D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2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2" presStyleCnt="5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63B13F59-E888-480C-9F38-5686D677B547}" type="pres">
      <dgm:prSet presAssocID="{9EC1F263-3D32-4C7F-89BA-A78A54531848}" presName="Name35" presStyleLbl="parChTrans1D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640720FD-F135-4016-89AE-7D3C11FEA3A1}" type="pres">
      <dgm:prSet presAssocID="{1F126DB9-F126-4418-B903-DD43E603F096}" presName="hierRoot2" presStyleCnt="0">
        <dgm:presLayoutVars>
          <dgm:hierBranch val="init"/>
        </dgm:presLayoutVars>
      </dgm:prSet>
      <dgm:spPr/>
    </dgm:pt>
    <dgm:pt modelId="{A29F3C68-52E9-4FAA-80B9-099685ADC0AC}" type="pres">
      <dgm:prSet presAssocID="{1F126DB9-F126-4418-B903-DD43E603F096}" presName="rootComposite" presStyleCnt="0"/>
      <dgm:spPr/>
    </dgm:pt>
    <dgm:pt modelId="{AA99C2C6-EE03-4377-B96E-0651630D362D}" type="pres">
      <dgm:prSet presAssocID="{1F126DB9-F126-4418-B903-DD43E603F096}" presName="rootText" presStyleLbl="node2" presStyleIdx="3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27863C5B-806B-4BF9-80C3-F598047FA19F}" type="pres">
      <dgm:prSet presAssocID="{1F126DB9-F126-4418-B903-DD43E603F096}" presName="rootConnector" presStyleLbl="node2" presStyleIdx="3" presStyleCnt="5"/>
      <dgm:spPr/>
      <dgm:t>
        <a:bodyPr/>
        <a:lstStyle/>
        <a:p>
          <a:pPr latinLnBrk="1"/>
          <a:endParaRPr lang="ko-KR" altLang="en-US"/>
        </a:p>
      </dgm:t>
    </dgm:pt>
    <dgm:pt modelId="{4CD00401-FC82-486B-B456-D4B937CD59E0}" type="pres">
      <dgm:prSet presAssocID="{1F126DB9-F126-4418-B903-DD43E603F096}" presName="hierChild4" presStyleCnt="0"/>
      <dgm:spPr/>
    </dgm:pt>
    <dgm:pt modelId="{069B80AE-CD80-43B6-8EA9-58E9E5279AC7}" type="pres">
      <dgm:prSet presAssocID="{1F126DB9-F126-4418-B903-DD43E603F096}" presName="hierChild5" presStyleCnt="0"/>
      <dgm:spPr/>
    </dgm:pt>
    <dgm:pt modelId="{580FC512-D96A-4DCB-A463-1B4C63456F9B}" type="pres">
      <dgm:prSet presAssocID="{22F0FA33-4D7C-4857-A69C-921D2822BB80}" presName="Name35" presStyleLbl="parChTrans1D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C8A8AD05-FAB7-49D6-897E-14725256522E}" type="pres">
      <dgm:prSet presAssocID="{E5E7B287-0F9E-4D5F-98CD-E4766788D956}" presName="hierRoot2" presStyleCnt="0">
        <dgm:presLayoutVars>
          <dgm:hierBranch val="init"/>
        </dgm:presLayoutVars>
      </dgm:prSet>
      <dgm:spPr/>
    </dgm:pt>
    <dgm:pt modelId="{0BEC39F1-10B7-4B84-BBDF-DB9078BEFB79}" type="pres">
      <dgm:prSet presAssocID="{E5E7B287-0F9E-4D5F-98CD-E4766788D956}" presName="rootComposite" presStyleCnt="0"/>
      <dgm:spPr/>
    </dgm:pt>
    <dgm:pt modelId="{1A0ACED6-AC5A-42BE-B4C7-E6AF4B818FDD}" type="pres">
      <dgm:prSet presAssocID="{E5E7B287-0F9E-4D5F-98CD-E4766788D956}" presName="rootText" presStyleLbl="node2" presStyleIdx="4" presStyleCnt="5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603E11B7-AD75-49CD-B49D-3117841096FD}" type="pres">
      <dgm:prSet presAssocID="{E5E7B287-0F9E-4D5F-98CD-E4766788D956}" presName="rootConnector" presStyleLbl="node2" presStyleIdx="4" presStyleCnt="5"/>
      <dgm:spPr/>
      <dgm:t>
        <a:bodyPr/>
        <a:lstStyle/>
        <a:p>
          <a:pPr latinLnBrk="1"/>
          <a:endParaRPr lang="ko-KR" altLang="en-US"/>
        </a:p>
      </dgm:t>
    </dgm:pt>
    <dgm:pt modelId="{94096811-90C4-413E-A7E2-116D6A64B5E9}" type="pres">
      <dgm:prSet presAssocID="{E5E7B287-0F9E-4D5F-98CD-E4766788D956}" presName="hierChild4" presStyleCnt="0"/>
      <dgm:spPr/>
    </dgm:pt>
    <dgm:pt modelId="{CE80F6DF-3566-4DDF-A48E-50B806CD4D84}" type="pres">
      <dgm:prSet presAssocID="{E5E7B287-0F9E-4D5F-98CD-E4766788D956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78CFDFA3-4CE0-4A7B-A0D2-ADD1BB2A5A00}" type="presOf" srcId="{1F126DB9-F126-4418-B903-DD43E603F096}" destId="{27863C5B-806B-4BF9-80C3-F598047FA19F}" srcOrd="1" destOrd="0" presId="urn:microsoft.com/office/officeart/2005/8/layout/orgChart1"/>
    <dgm:cxn modelId="{780B7961-3999-43E3-AE77-42633652E2E2}" type="presOf" srcId="{6ACAC34D-5F2D-4238-85FD-FDB1B343519A}" destId="{5B9C14DC-79D6-480F-BA8E-DD5DCF3B8809}" srcOrd="1" destOrd="0" presId="urn:microsoft.com/office/officeart/2005/8/layout/orgChart1"/>
    <dgm:cxn modelId="{81BF6145-133B-4DDE-8FD4-99557219B534}" srcId="{BB39CC23-6641-4579-A09F-143D71D195CC}" destId="{CBFA51A4-CB08-4A50-8480-354EBD9D7157}" srcOrd="0" destOrd="0" parTransId="{D932DE45-75BE-44FD-9686-B6FC67F99451}" sibTransId="{18C93E52-404D-4E9E-8FB6-C4E7CEBCD813}"/>
    <dgm:cxn modelId="{C1C504C6-958F-4869-BC5B-4622BF1B8D63}" type="presOf" srcId="{E5E7B287-0F9E-4D5F-98CD-E4766788D956}" destId="{603E11B7-AD75-49CD-B49D-3117841096FD}" srcOrd="1" destOrd="0" presId="urn:microsoft.com/office/officeart/2005/8/layout/orgChart1"/>
    <dgm:cxn modelId="{8D32CD37-D239-4879-9625-4972AFCEE0D3}" srcId="{BB39CC23-6641-4579-A09F-143D71D195CC}" destId="{81F1D17E-5225-4876-A035-4C887440E0E2}" srcOrd="2" destOrd="0" parTransId="{ADBF9A0D-6110-486D-95CE-48F4CE8112D1}" sibTransId="{D9887700-7671-44B7-887A-DB5656FD446A}"/>
    <dgm:cxn modelId="{BB483B39-7570-4625-9D55-016354C88609}" type="presOf" srcId="{63BDE043-00EF-48FD-97E2-BCBDA07AF672}" destId="{D8339683-FD12-45C2-A60E-5808D8CB10E9}" srcOrd="0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D332D2C0-B99D-45E0-9F2D-7EEDA17E6E7E}" type="presOf" srcId="{CBFA51A4-CB08-4A50-8480-354EBD9D7157}" destId="{EEF645B9-B5B3-4875-AF2D-50AC9DD46C0B}" srcOrd="1" destOrd="0" presId="urn:microsoft.com/office/officeart/2005/8/layout/orgChart1"/>
    <dgm:cxn modelId="{CF8B6C49-3315-4A6E-85FB-DFD4CB7349B2}" type="presOf" srcId="{9EC1F263-3D32-4C7F-89BA-A78A54531848}" destId="{63B13F59-E888-480C-9F38-5686D677B547}" srcOrd="0" destOrd="0" presId="urn:microsoft.com/office/officeart/2005/8/layout/orgChart1"/>
    <dgm:cxn modelId="{392C7ADD-FECE-490A-A52E-86BDBC7EDC41}" srcId="{BB39CC23-6641-4579-A09F-143D71D195CC}" destId="{1F126DB9-F126-4418-B903-DD43E603F096}" srcOrd="3" destOrd="0" parTransId="{9EC1F263-3D32-4C7F-89BA-A78A54531848}" sibTransId="{E2875794-69EE-4AA1-B334-BC411A9F31C8}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2B9468DE-E183-4287-A178-1FD679366D6D}" srcId="{BB39CC23-6641-4579-A09F-143D71D195CC}" destId="{E5E7B287-0F9E-4D5F-98CD-E4766788D956}" srcOrd="4" destOrd="0" parTransId="{22F0FA33-4D7C-4857-A69C-921D2822BB80}" sibTransId="{D069DB4A-4EF4-4FF8-B106-E993111C7544}"/>
    <dgm:cxn modelId="{7721AFD2-44EC-4D59-B413-0E97DCE84D6F}" type="presOf" srcId="{D932DE45-75BE-44FD-9686-B6FC67F99451}" destId="{7CD8EE3F-98CE-4FD2-8D73-EFFEB2BDF228}" srcOrd="0" destOrd="0" presId="urn:microsoft.com/office/officeart/2005/8/layout/orgChart1"/>
    <dgm:cxn modelId="{56DB4485-27FF-4458-B86E-3234BACCF893}" type="presOf" srcId="{81F1D17E-5225-4876-A035-4C887440E0E2}" destId="{3965A6D7-7CC7-4B6F-A43B-1B77548D0291}" srcOrd="1" destOrd="0" presId="urn:microsoft.com/office/officeart/2005/8/layout/orgChart1"/>
    <dgm:cxn modelId="{424590FD-C118-41E5-B2BE-4AB05914EFB2}" type="presOf" srcId="{CBFA51A4-CB08-4A50-8480-354EBD9D7157}" destId="{1667C80E-7435-4C84-BFF5-5C8DEA5A00FC}" srcOrd="0" destOrd="0" presId="urn:microsoft.com/office/officeart/2005/8/layout/orgChart1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65B1574F-E9D3-4E7E-B6AB-2966C0262AB9}" type="presOf" srcId="{E5E7B287-0F9E-4D5F-98CD-E4766788D956}" destId="{1A0ACED6-AC5A-42BE-B4C7-E6AF4B818FDD}" srcOrd="0" destOrd="0" presId="urn:microsoft.com/office/officeart/2005/8/layout/orgChart1"/>
    <dgm:cxn modelId="{47BCB485-A17A-4671-ACD1-E00EDF550E1B}" type="presOf" srcId="{81F1D17E-5225-4876-A035-4C887440E0E2}" destId="{FF91BB56-2C26-4665-98AF-93AEF8C2E353}" srcOrd="0" destOrd="0" presId="urn:microsoft.com/office/officeart/2005/8/layout/orgChart1"/>
    <dgm:cxn modelId="{76246B09-8A63-4988-ACBD-771AB7DFF75A}" type="presOf" srcId="{ADBF9A0D-6110-486D-95CE-48F4CE8112D1}" destId="{310DE177-8222-4D71-AF4F-1405C3F6732D}" srcOrd="0" destOrd="0" presId="urn:microsoft.com/office/officeart/2005/8/layout/orgChart1"/>
    <dgm:cxn modelId="{4AAC2963-5F8F-4987-9601-A7E0304220C5}" type="presOf" srcId="{22F0FA33-4D7C-4857-A69C-921D2822BB80}" destId="{580FC512-D96A-4DCB-A463-1B4C63456F9B}" srcOrd="0" destOrd="0" presId="urn:microsoft.com/office/officeart/2005/8/layout/orgChart1"/>
    <dgm:cxn modelId="{55D4648F-4046-49F2-A67F-34FF7E21BDB1}" type="presOf" srcId="{6ACAC34D-5F2D-4238-85FD-FDB1B343519A}" destId="{5E201424-3083-4AFD-ACAC-0FC29AAAB78B}" srcOrd="0" destOrd="0" presId="urn:microsoft.com/office/officeart/2005/8/layout/orgChart1"/>
    <dgm:cxn modelId="{0CA6BBCF-99F1-40BE-8A7B-17DED6C2CD7C}" type="presOf" srcId="{1F126DB9-F126-4418-B903-DD43E603F096}" destId="{AA99C2C6-EE03-4377-B96E-0651630D362D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4D868D92-786A-4821-8576-CF1DB6AA4854}" type="presParOf" srcId="{D7F15C06-487B-4B54-87F8-D70D3E737C99}" destId="{7CD8EE3F-98CE-4FD2-8D73-EFFEB2BDF228}" srcOrd="0" destOrd="0" presId="urn:microsoft.com/office/officeart/2005/8/layout/orgChart1"/>
    <dgm:cxn modelId="{2F38DBCE-0281-40AB-B831-B68D6996E162}" type="presParOf" srcId="{D7F15C06-487B-4B54-87F8-D70D3E737C99}" destId="{47E1A566-9B4A-4D53-8922-3C536081AD5F}" srcOrd="1" destOrd="0" presId="urn:microsoft.com/office/officeart/2005/8/layout/orgChart1"/>
    <dgm:cxn modelId="{F6EB8B78-91CA-4222-80EA-398B31936B6D}" type="presParOf" srcId="{47E1A566-9B4A-4D53-8922-3C536081AD5F}" destId="{215B61B2-1217-4A22-9BE7-2EABEF95D2E0}" srcOrd="0" destOrd="0" presId="urn:microsoft.com/office/officeart/2005/8/layout/orgChart1"/>
    <dgm:cxn modelId="{6D218BAC-9E98-4EFD-923E-B0BC78987693}" type="presParOf" srcId="{215B61B2-1217-4A22-9BE7-2EABEF95D2E0}" destId="{1667C80E-7435-4C84-BFF5-5C8DEA5A00FC}" srcOrd="0" destOrd="0" presId="urn:microsoft.com/office/officeart/2005/8/layout/orgChart1"/>
    <dgm:cxn modelId="{83048E1F-B5A3-4ECF-A1F8-B97E49AE0838}" type="presParOf" srcId="{215B61B2-1217-4A22-9BE7-2EABEF95D2E0}" destId="{EEF645B9-B5B3-4875-AF2D-50AC9DD46C0B}" srcOrd="1" destOrd="0" presId="urn:microsoft.com/office/officeart/2005/8/layout/orgChart1"/>
    <dgm:cxn modelId="{F2B013C7-ED72-482E-A45D-8DAA84308A68}" type="presParOf" srcId="{47E1A566-9B4A-4D53-8922-3C536081AD5F}" destId="{8A063993-39B6-487B-9913-1FF6F408495F}" srcOrd="1" destOrd="0" presId="urn:microsoft.com/office/officeart/2005/8/layout/orgChart1"/>
    <dgm:cxn modelId="{5C3C8D52-9628-46DB-98BA-26B417E1BBAC}" type="presParOf" srcId="{47E1A566-9B4A-4D53-8922-3C536081AD5F}" destId="{4D08425E-0897-4691-852D-04BB23288300}" srcOrd="2" destOrd="0" presId="urn:microsoft.com/office/officeart/2005/8/layout/orgChart1"/>
    <dgm:cxn modelId="{EE1E8AB4-C9D7-467D-ADED-C5AD2EF9F9F5}" type="presParOf" srcId="{D7F15C06-487B-4B54-87F8-D70D3E737C99}" destId="{D8339683-FD12-45C2-A60E-5808D8CB10E9}" srcOrd="2" destOrd="0" presId="urn:microsoft.com/office/officeart/2005/8/layout/orgChart1"/>
    <dgm:cxn modelId="{5D25E773-0C5D-4751-AD83-D2239C3C335C}" type="presParOf" srcId="{D7F15C06-487B-4B54-87F8-D70D3E737C99}" destId="{D17D5A31-3CC1-41C8-A6CE-2D5142A019F9}" srcOrd="3" destOrd="0" presId="urn:microsoft.com/office/officeart/2005/8/layout/orgChart1"/>
    <dgm:cxn modelId="{34680B2D-37A5-4564-8DB8-BF43ADA1DD42}" type="presParOf" srcId="{D17D5A31-3CC1-41C8-A6CE-2D5142A019F9}" destId="{9EC62997-3106-48B7-90ED-536B20C5BFB1}" srcOrd="0" destOrd="0" presId="urn:microsoft.com/office/officeart/2005/8/layout/orgChart1"/>
    <dgm:cxn modelId="{CC4B7326-5F64-45C3-B8B2-FA46FE974060}" type="presParOf" srcId="{9EC62997-3106-48B7-90ED-536B20C5BFB1}" destId="{5E201424-3083-4AFD-ACAC-0FC29AAAB78B}" srcOrd="0" destOrd="0" presId="urn:microsoft.com/office/officeart/2005/8/layout/orgChart1"/>
    <dgm:cxn modelId="{8FEB4912-869D-45AC-BE6B-04E9070A3E2C}" type="presParOf" srcId="{9EC62997-3106-48B7-90ED-536B20C5BFB1}" destId="{5B9C14DC-79D6-480F-BA8E-DD5DCF3B8809}" srcOrd="1" destOrd="0" presId="urn:microsoft.com/office/officeart/2005/8/layout/orgChart1"/>
    <dgm:cxn modelId="{350FC4CD-1237-454C-A895-8236013B3788}" type="presParOf" srcId="{D17D5A31-3CC1-41C8-A6CE-2D5142A019F9}" destId="{B1F509AA-C903-44E5-89C0-3DF3E22362AC}" srcOrd="1" destOrd="0" presId="urn:microsoft.com/office/officeart/2005/8/layout/orgChart1"/>
    <dgm:cxn modelId="{1F43ECD1-6A00-4245-B32D-8B31908FC16F}" type="presParOf" srcId="{D17D5A31-3CC1-41C8-A6CE-2D5142A019F9}" destId="{3B194C3C-CF1F-4746-9124-F3D713DC67A9}" srcOrd="2" destOrd="0" presId="urn:microsoft.com/office/officeart/2005/8/layout/orgChart1"/>
    <dgm:cxn modelId="{1F0DD038-7109-468D-BA6F-904A83453B8C}" type="presParOf" srcId="{D7F15C06-487B-4B54-87F8-D70D3E737C99}" destId="{310DE177-8222-4D71-AF4F-1405C3F6732D}" srcOrd="4" destOrd="0" presId="urn:microsoft.com/office/officeart/2005/8/layout/orgChart1"/>
    <dgm:cxn modelId="{E8C020EB-BEFE-4692-87A4-42FD64D837F2}" type="presParOf" srcId="{D7F15C06-487B-4B54-87F8-D70D3E737C99}" destId="{D0A9DB89-2979-4EDA-B38B-2FF91EE5C9AE}" srcOrd="5" destOrd="0" presId="urn:microsoft.com/office/officeart/2005/8/layout/orgChart1"/>
    <dgm:cxn modelId="{6F83ED77-0108-48FF-8729-8694FD572C83}" type="presParOf" srcId="{D0A9DB89-2979-4EDA-B38B-2FF91EE5C9AE}" destId="{C074DCBF-0EF7-4E65-BC6F-9B8BE16A664B}" srcOrd="0" destOrd="0" presId="urn:microsoft.com/office/officeart/2005/8/layout/orgChart1"/>
    <dgm:cxn modelId="{90004ACA-F5D5-4DDD-8F26-88EBF4787196}" type="presParOf" srcId="{C074DCBF-0EF7-4E65-BC6F-9B8BE16A664B}" destId="{FF91BB56-2C26-4665-98AF-93AEF8C2E353}" srcOrd="0" destOrd="0" presId="urn:microsoft.com/office/officeart/2005/8/layout/orgChart1"/>
    <dgm:cxn modelId="{F0EC03BC-EFD4-4BA6-BDCA-D800E5E4E235}" type="presParOf" srcId="{C074DCBF-0EF7-4E65-BC6F-9B8BE16A664B}" destId="{3965A6D7-7CC7-4B6F-A43B-1B77548D0291}" srcOrd="1" destOrd="0" presId="urn:microsoft.com/office/officeart/2005/8/layout/orgChart1"/>
    <dgm:cxn modelId="{5A4C712E-2978-4A0D-BFF8-2F16CF494AC7}" type="presParOf" srcId="{D0A9DB89-2979-4EDA-B38B-2FF91EE5C9AE}" destId="{FD47114A-0FCF-4673-ACC5-CD2C92D45224}" srcOrd="1" destOrd="0" presId="urn:microsoft.com/office/officeart/2005/8/layout/orgChart1"/>
    <dgm:cxn modelId="{AC83B154-1B0B-4D81-B00F-33174D74CA33}" type="presParOf" srcId="{D0A9DB89-2979-4EDA-B38B-2FF91EE5C9AE}" destId="{87BC8F90-9C8F-49DA-A408-A08B48203C5F}" srcOrd="2" destOrd="0" presId="urn:microsoft.com/office/officeart/2005/8/layout/orgChart1"/>
    <dgm:cxn modelId="{20625A96-D37A-4DF8-9E39-C382B67822EE}" type="presParOf" srcId="{D7F15C06-487B-4B54-87F8-D70D3E737C99}" destId="{63B13F59-E888-480C-9F38-5686D677B547}" srcOrd="6" destOrd="0" presId="urn:microsoft.com/office/officeart/2005/8/layout/orgChart1"/>
    <dgm:cxn modelId="{9F7E9DDD-6D8D-41D4-A6E5-D24407B04031}" type="presParOf" srcId="{D7F15C06-487B-4B54-87F8-D70D3E737C99}" destId="{640720FD-F135-4016-89AE-7D3C11FEA3A1}" srcOrd="7" destOrd="0" presId="urn:microsoft.com/office/officeart/2005/8/layout/orgChart1"/>
    <dgm:cxn modelId="{13B59128-7F4B-4EBE-B15D-9849843ACBCE}" type="presParOf" srcId="{640720FD-F135-4016-89AE-7D3C11FEA3A1}" destId="{A29F3C68-52E9-4FAA-80B9-099685ADC0AC}" srcOrd="0" destOrd="0" presId="urn:microsoft.com/office/officeart/2005/8/layout/orgChart1"/>
    <dgm:cxn modelId="{7B309A88-757D-4369-AFFD-5F9208E2AEF8}" type="presParOf" srcId="{A29F3C68-52E9-4FAA-80B9-099685ADC0AC}" destId="{AA99C2C6-EE03-4377-B96E-0651630D362D}" srcOrd="0" destOrd="0" presId="urn:microsoft.com/office/officeart/2005/8/layout/orgChart1"/>
    <dgm:cxn modelId="{1C632EA4-0BE9-42DD-BD2D-AB7204910EFD}" type="presParOf" srcId="{A29F3C68-52E9-4FAA-80B9-099685ADC0AC}" destId="{27863C5B-806B-4BF9-80C3-F598047FA19F}" srcOrd="1" destOrd="0" presId="urn:microsoft.com/office/officeart/2005/8/layout/orgChart1"/>
    <dgm:cxn modelId="{0C7C167A-C344-4B8C-9515-6623E8C258FD}" type="presParOf" srcId="{640720FD-F135-4016-89AE-7D3C11FEA3A1}" destId="{4CD00401-FC82-486B-B456-D4B937CD59E0}" srcOrd="1" destOrd="0" presId="urn:microsoft.com/office/officeart/2005/8/layout/orgChart1"/>
    <dgm:cxn modelId="{8FE18CC2-5932-4400-9F5D-4CEA97148A36}" type="presParOf" srcId="{640720FD-F135-4016-89AE-7D3C11FEA3A1}" destId="{069B80AE-CD80-43B6-8EA9-58E9E5279AC7}" srcOrd="2" destOrd="0" presId="urn:microsoft.com/office/officeart/2005/8/layout/orgChart1"/>
    <dgm:cxn modelId="{5616A189-3610-48B5-A384-5511EF65C168}" type="presParOf" srcId="{D7F15C06-487B-4B54-87F8-D70D3E737C99}" destId="{580FC512-D96A-4DCB-A463-1B4C63456F9B}" srcOrd="8" destOrd="0" presId="urn:microsoft.com/office/officeart/2005/8/layout/orgChart1"/>
    <dgm:cxn modelId="{A16C0DFD-EB58-45FB-91D6-8D86C5605B19}" type="presParOf" srcId="{D7F15C06-487B-4B54-87F8-D70D3E737C99}" destId="{C8A8AD05-FAB7-49D6-897E-14725256522E}" srcOrd="9" destOrd="0" presId="urn:microsoft.com/office/officeart/2005/8/layout/orgChart1"/>
    <dgm:cxn modelId="{9F8B8252-0583-4A55-B4DB-F8D256CC70D1}" type="presParOf" srcId="{C8A8AD05-FAB7-49D6-897E-14725256522E}" destId="{0BEC39F1-10B7-4B84-BBDF-DB9078BEFB79}" srcOrd="0" destOrd="0" presId="urn:microsoft.com/office/officeart/2005/8/layout/orgChart1"/>
    <dgm:cxn modelId="{BA9A4C0C-291F-45F0-9C80-4D3A773CE3E6}" type="presParOf" srcId="{0BEC39F1-10B7-4B84-BBDF-DB9078BEFB79}" destId="{1A0ACED6-AC5A-42BE-B4C7-E6AF4B818FDD}" srcOrd="0" destOrd="0" presId="urn:microsoft.com/office/officeart/2005/8/layout/orgChart1"/>
    <dgm:cxn modelId="{49DC3EA6-9A73-43E5-AB12-9AD089519CDB}" type="presParOf" srcId="{0BEC39F1-10B7-4B84-BBDF-DB9078BEFB79}" destId="{603E11B7-AD75-49CD-B49D-3117841096FD}" srcOrd="1" destOrd="0" presId="urn:microsoft.com/office/officeart/2005/8/layout/orgChart1"/>
    <dgm:cxn modelId="{706DB331-8F00-4E5F-A3C4-1F6E761D370C}" type="presParOf" srcId="{C8A8AD05-FAB7-49D6-897E-14725256522E}" destId="{94096811-90C4-413E-A7E2-116D6A64B5E9}" srcOrd="1" destOrd="0" presId="urn:microsoft.com/office/officeart/2005/8/layout/orgChart1"/>
    <dgm:cxn modelId="{4C103C6C-1506-4557-A3F1-FF8802635D8D}" type="presParOf" srcId="{C8A8AD05-FAB7-49D6-897E-14725256522E}" destId="{CE80F6DF-3566-4DDF-A48E-50B806CD4D84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A33AF1-B571-4916-A971-ACBEE5CF66A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BB39CC23-6641-4579-A09F-143D71D195CC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gm:t>
    </dgm:pt>
    <dgm:pt modelId="{E5E06D19-DD10-4366-B9D9-77AF08E62198}" type="parTrans" cxnId="{C71C2A6C-7013-42F5-B574-26B4F8AB3377}">
      <dgm:prSet/>
      <dgm:spPr/>
      <dgm:t>
        <a:bodyPr/>
        <a:lstStyle/>
        <a:p>
          <a:pPr latinLnBrk="1"/>
          <a:endParaRPr lang="ko-KR" altLang="en-US" b="0"/>
        </a:p>
      </dgm:t>
    </dgm:pt>
    <dgm:pt modelId="{8E670178-C6AE-4F80-931A-ABA14FBC5A06}" type="sibTrans" cxnId="{C71C2A6C-7013-42F5-B574-26B4F8AB3377}">
      <dgm:prSet/>
      <dgm:spPr/>
      <dgm:t>
        <a:bodyPr/>
        <a:lstStyle/>
        <a:p>
          <a:pPr latinLnBrk="1"/>
          <a:endParaRPr lang="ko-KR" altLang="en-US" b="0"/>
        </a:p>
      </dgm:t>
    </dgm:pt>
    <dgm:pt modelId="{6ACAC34D-5F2D-4238-85FD-FDB1B343519A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위치 기반</a:t>
          </a:r>
          <a: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조회</a:t>
          </a:r>
        </a:p>
      </dgm:t>
    </dgm:pt>
    <dgm:pt modelId="{63BDE043-00EF-48FD-97E2-BCBDA07AF672}" type="parTrans" cxnId="{E8BF0EF1-714D-4AFE-B698-CA0F6A9C3157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20D0EBA7-3799-43AD-AF9D-94A3D5ED744C}" type="sibTrans" cxnId="{E8BF0EF1-714D-4AFE-B698-CA0F6A9C3157}">
      <dgm:prSet/>
      <dgm:spPr/>
      <dgm:t>
        <a:bodyPr/>
        <a:lstStyle/>
        <a:p>
          <a:pPr latinLnBrk="1"/>
          <a:endParaRPr lang="ko-KR" altLang="en-US" b="0"/>
        </a:p>
      </dgm:t>
    </dgm:pt>
    <dgm:pt modelId="{955EC21A-D2AB-43C7-B9AF-2CCE5EBEA114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날씨 기반</a:t>
          </a:r>
          <a: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추천 식당</a:t>
          </a:r>
        </a:p>
      </dgm:t>
    </dgm:pt>
    <dgm:pt modelId="{FFB1546E-3EE6-42E5-B7F3-F3E37AAE5383}" type="parTrans" cxnId="{061632B4-A0B8-487F-AB61-644C4D795C14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DE8D1923-073F-40BB-9F6C-883E94566E2B}" type="sibTrans" cxnId="{061632B4-A0B8-487F-AB61-644C4D795C14}">
      <dgm:prSet/>
      <dgm:spPr/>
      <dgm:t>
        <a:bodyPr/>
        <a:lstStyle/>
        <a:p>
          <a:pPr latinLnBrk="1"/>
          <a:endParaRPr lang="ko-KR" altLang="en-US" b="0"/>
        </a:p>
      </dgm:t>
    </dgm:pt>
    <dgm:pt modelId="{81F1D17E-5225-4876-A035-4C887440E0E2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후기</a:t>
          </a:r>
        </a:p>
      </dgm:t>
    </dgm:pt>
    <dgm:pt modelId="{ADBF9A0D-6110-486D-95CE-48F4CE8112D1}" type="parTrans" cxnId="{8D32CD37-D239-4879-9625-4972AFCEE0D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D9887700-7671-44B7-887A-DB5656FD446A}" type="sibTrans" cxnId="{8D32CD37-D239-4879-9625-4972AFCEE0D3}">
      <dgm:prSet/>
      <dgm:spPr/>
      <dgm:t>
        <a:bodyPr/>
        <a:lstStyle/>
        <a:p>
          <a:pPr latinLnBrk="1"/>
          <a:endParaRPr lang="ko-KR" altLang="en-US" b="0"/>
        </a:p>
      </dgm:t>
    </dgm:pt>
    <dgm:pt modelId="{BCD1BE49-FDFC-4013-B16C-2EE94C88504E}">
      <dgm:prSet phldrT="[텍스트]" custT="1"/>
      <dgm:spPr>
        <a:solidFill>
          <a:srgbClr val="625772"/>
        </a:solidFill>
      </dgm:spPr>
      <dgm:t>
        <a:bodyPr/>
        <a:lstStyle/>
        <a:p>
          <a:pPr latinLnBrk="1"/>
          <a:r>
            <a:rPr lang="ko-KR" altLang="en-US" sz="1800" b="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관련 식당</a:t>
          </a:r>
        </a:p>
      </dgm:t>
    </dgm:pt>
    <dgm:pt modelId="{B5BB6965-18BF-4518-9A7D-16CBD2F95A29}" type="parTrans" cxnId="{06DAA87A-8494-45F2-AA5E-798288513533}">
      <dgm:prSet/>
      <dgm:spPr>
        <a:ln>
          <a:solidFill>
            <a:srgbClr val="625772"/>
          </a:solidFill>
        </a:ln>
      </dgm:spPr>
      <dgm:t>
        <a:bodyPr/>
        <a:lstStyle/>
        <a:p>
          <a:pPr latinLnBrk="1"/>
          <a:endParaRPr lang="ko-KR" altLang="en-US" b="0"/>
        </a:p>
      </dgm:t>
    </dgm:pt>
    <dgm:pt modelId="{8E7F38DD-342C-41E3-B681-F63793FD08F3}" type="sibTrans" cxnId="{06DAA87A-8494-45F2-AA5E-798288513533}">
      <dgm:prSet/>
      <dgm:spPr/>
      <dgm:t>
        <a:bodyPr/>
        <a:lstStyle/>
        <a:p>
          <a:pPr latinLnBrk="1"/>
          <a:endParaRPr lang="ko-KR" altLang="en-US" b="0"/>
        </a:p>
      </dgm:t>
    </dgm:pt>
    <dgm:pt modelId="{2A197DA4-8EFE-401D-9FC9-FEB3E9111FB1}" type="pres">
      <dgm:prSet presAssocID="{F3A33AF1-B571-4916-A971-ACBEE5CF66A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C42F0944-C906-4CD9-BE27-1318086757BC}" type="pres">
      <dgm:prSet presAssocID="{BB39CC23-6641-4579-A09F-143D71D195CC}" presName="hierRoot1" presStyleCnt="0">
        <dgm:presLayoutVars>
          <dgm:hierBranch/>
        </dgm:presLayoutVars>
      </dgm:prSet>
      <dgm:spPr/>
    </dgm:pt>
    <dgm:pt modelId="{5EAAC82A-46C3-4445-814D-4DB98AA19E2C}" type="pres">
      <dgm:prSet presAssocID="{BB39CC23-6641-4579-A09F-143D71D195CC}" presName="rootComposite1" presStyleCnt="0"/>
      <dgm:spPr/>
    </dgm:pt>
    <dgm:pt modelId="{B2CB0CEF-A543-4D48-86EE-C85A4B0C6E60}" type="pres">
      <dgm:prSet presAssocID="{BB39CC23-6641-4579-A09F-143D71D195CC}" presName="rootText1" presStyleLbl="node0" presStyleIdx="0" presStyleCnt="1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49A2D507-0DC4-44FE-8AF3-043D0C7FF6CD}" type="pres">
      <dgm:prSet presAssocID="{BB39CC23-6641-4579-A09F-143D71D195CC}" presName="rootConnector1" presStyleLbl="node1" presStyleIdx="0" presStyleCnt="0"/>
      <dgm:spPr/>
      <dgm:t>
        <a:bodyPr/>
        <a:lstStyle/>
        <a:p>
          <a:pPr latinLnBrk="1"/>
          <a:endParaRPr lang="ko-KR" altLang="en-US"/>
        </a:p>
      </dgm:t>
    </dgm:pt>
    <dgm:pt modelId="{D7F15C06-487B-4B54-87F8-D70D3E737C99}" type="pres">
      <dgm:prSet presAssocID="{BB39CC23-6641-4579-A09F-143D71D195CC}" presName="hierChild2" presStyleCnt="0"/>
      <dgm:spPr/>
    </dgm:pt>
    <dgm:pt modelId="{AF9ED239-4FFD-4792-B6AC-4F34BD184AF0}" type="pres">
      <dgm:prSet presAssocID="{B5BB6965-18BF-4518-9A7D-16CBD2F95A29}" presName="Name35" presStyleLbl="parChTrans1D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D8C72238-2D85-46A7-A37B-CCEA999A5864}" type="pres">
      <dgm:prSet presAssocID="{BCD1BE49-FDFC-4013-B16C-2EE94C88504E}" presName="hierRoot2" presStyleCnt="0">
        <dgm:presLayoutVars>
          <dgm:hierBranch val="init"/>
        </dgm:presLayoutVars>
      </dgm:prSet>
      <dgm:spPr/>
    </dgm:pt>
    <dgm:pt modelId="{B9F3A244-E932-4FB2-9CEE-6A0EBC1EB69B}" type="pres">
      <dgm:prSet presAssocID="{BCD1BE49-FDFC-4013-B16C-2EE94C88504E}" presName="rootComposite" presStyleCnt="0"/>
      <dgm:spPr/>
    </dgm:pt>
    <dgm:pt modelId="{FEEE9DFE-2886-484E-906A-C5C1160E6BD1}" type="pres">
      <dgm:prSet presAssocID="{BCD1BE49-FDFC-4013-B16C-2EE94C88504E}" presName="rootText" presStyleLbl="node2" presStyleIdx="0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85EB0929-1DA3-4E4A-A8C7-D033D2F6ED52}" type="pres">
      <dgm:prSet presAssocID="{BCD1BE49-FDFC-4013-B16C-2EE94C88504E}" presName="rootConnector" presStyleLbl="node2" presStyleIdx="0" presStyleCnt="4"/>
      <dgm:spPr/>
      <dgm:t>
        <a:bodyPr/>
        <a:lstStyle/>
        <a:p>
          <a:pPr latinLnBrk="1"/>
          <a:endParaRPr lang="ko-KR" altLang="en-US"/>
        </a:p>
      </dgm:t>
    </dgm:pt>
    <dgm:pt modelId="{CA47D86A-4408-4C43-9013-BD61238A0053}" type="pres">
      <dgm:prSet presAssocID="{BCD1BE49-FDFC-4013-B16C-2EE94C88504E}" presName="hierChild4" presStyleCnt="0"/>
      <dgm:spPr/>
    </dgm:pt>
    <dgm:pt modelId="{AB3A74CE-58BB-4AD2-AA9F-A65C10A89790}" type="pres">
      <dgm:prSet presAssocID="{BCD1BE49-FDFC-4013-B16C-2EE94C88504E}" presName="hierChild5" presStyleCnt="0"/>
      <dgm:spPr/>
    </dgm:pt>
    <dgm:pt modelId="{CD0C7830-EF60-4BC2-BAFD-D25393C98F37}" type="pres">
      <dgm:prSet presAssocID="{63BDE043-00EF-48FD-97E2-BCBDA07AF672}" presName="Name35" presStyleLbl="parChTrans1D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D17D5A31-3CC1-41C8-A6CE-2D5142A019F9}" type="pres">
      <dgm:prSet presAssocID="{6ACAC34D-5F2D-4238-85FD-FDB1B343519A}" presName="hierRoot2" presStyleCnt="0">
        <dgm:presLayoutVars>
          <dgm:hierBranch val="init"/>
        </dgm:presLayoutVars>
      </dgm:prSet>
      <dgm:spPr/>
    </dgm:pt>
    <dgm:pt modelId="{9EC62997-3106-48B7-90ED-536B20C5BFB1}" type="pres">
      <dgm:prSet presAssocID="{6ACAC34D-5F2D-4238-85FD-FDB1B343519A}" presName="rootComposite" presStyleCnt="0"/>
      <dgm:spPr/>
    </dgm:pt>
    <dgm:pt modelId="{5E201424-3083-4AFD-ACAC-0FC29AAAB78B}" type="pres">
      <dgm:prSet presAssocID="{6ACAC34D-5F2D-4238-85FD-FDB1B343519A}" presName="rootText" presStyleLbl="node2" presStyleIdx="1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5B9C14DC-79D6-480F-BA8E-DD5DCF3B8809}" type="pres">
      <dgm:prSet presAssocID="{6ACAC34D-5F2D-4238-85FD-FDB1B343519A}" presName="rootConnector" presStyleLbl="node2" presStyleIdx="1" presStyleCnt="4"/>
      <dgm:spPr/>
      <dgm:t>
        <a:bodyPr/>
        <a:lstStyle/>
        <a:p>
          <a:pPr latinLnBrk="1"/>
          <a:endParaRPr lang="ko-KR" altLang="en-US"/>
        </a:p>
      </dgm:t>
    </dgm:pt>
    <dgm:pt modelId="{B1F509AA-C903-44E5-89C0-3DF3E22362AC}" type="pres">
      <dgm:prSet presAssocID="{6ACAC34D-5F2D-4238-85FD-FDB1B343519A}" presName="hierChild4" presStyleCnt="0"/>
      <dgm:spPr/>
    </dgm:pt>
    <dgm:pt modelId="{3B194C3C-CF1F-4746-9124-F3D713DC67A9}" type="pres">
      <dgm:prSet presAssocID="{6ACAC34D-5F2D-4238-85FD-FDB1B343519A}" presName="hierChild5" presStyleCnt="0"/>
      <dgm:spPr/>
    </dgm:pt>
    <dgm:pt modelId="{89FAF3C9-5540-43E9-AD60-6E9258AC8D19}" type="pres">
      <dgm:prSet presAssocID="{FFB1546E-3EE6-42E5-B7F3-F3E37AAE5383}" presName="Name35" presStyleLbl="parChTrans1D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3E8113F3-FB52-4A79-AB10-B34E495AC85A}" type="pres">
      <dgm:prSet presAssocID="{955EC21A-D2AB-43C7-B9AF-2CCE5EBEA114}" presName="hierRoot2" presStyleCnt="0">
        <dgm:presLayoutVars>
          <dgm:hierBranch val="init"/>
        </dgm:presLayoutVars>
      </dgm:prSet>
      <dgm:spPr/>
    </dgm:pt>
    <dgm:pt modelId="{C66F961E-4982-480C-8A4A-E3F2425764AE}" type="pres">
      <dgm:prSet presAssocID="{955EC21A-D2AB-43C7-B9AF-2CCE5EBEA114}" presName="rootComposite" presStyleCnt="0"/>
      <dgm:spPr/>
    </dgm:pt>
    <dgm:pt modelId="{B5CACB56-ECE7-44CE-8274-BA4B7399DB2C}" type="pres">
      <dgm:prSet presAssocID="{955EC21A-D2AB-43C7-B9AF-2CCE5EBEA114}" presName="rootText" presStyleLbl="node2" presStyleIdx="2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9580ED63-5BB7-46D8-9182-4326D5974CC9}" type="pres">
      <dgm:prSet presAssocID="{955EC21A-D2AB-43C7-B9AF-2CCE5EBEA114}" presName="rootConnector" presStyleLbl="node2" presStyleIdx="2" presStyleCnt="4"/>
      <dgm:spPr/>
      <dgm:t>
        <a:bodyPr/>
        <a:lstStyle/>
        <a:p>
          <a:pPr latinLnBrk="1"/>
          <a:endParaRPr lang="ko-KR" altLang="en-US"/>
        </a:p>
      </dgm:t>
    </dgm:pt>
    <dgm:pt modelId="{1C0F38BE-AC55-4239-B729-5CBD21329E64}" type="pres">
      <dgm:prSet presAssocID="{955EC21A-D2AB-43C7-B9AF-2CCE5EBEA114}" presName="hierChild4" presStyleCnt="0"/>
      <dgm:spPr/>
    </dgm:pt>
    <dgm:pt modelId="{F7ADB428-85DB-466B-B75C-D599413205BE}" type="pres">
      <dgm:prSet presAssocID="{955EC21A-D2AB-43C7-B9AF-2CCE5EBEA114}" presName="hierChild5" presStyleCnt="0"/>
      <dgm:spPr/>
    </dgm:pt>
    <dgm:pt modelId="{60EE34BF-E26C-4D32-B74A-BB1E81AA5D28}" type="pres">
      <dgm:prSet presAssocID="{ADBF9A0D-6110-486D-95CE-48F4CE8112D1}" presName="Name35" presStyleLbl="parChTrans1D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D0A9DB89-2979-4EDA-B38B-2FF91EE5C9AE}" type="pres">
      <dgm:prSet presAssocID="{81F1D17E-5225-4876-A035-4C887440E0E2}" presName="hierRoot2" presStyleCnt="0">
        <dgm:presLayoutVars>
          <dgm:hierBranch val="init"/>
        </dgm:presLayoutVars>
      </dgm:prSet>
      <dgm:spPr/>
    </dgm:pt>
    <dgm:pt modelId="{C074DCBF-0EF7-4E65-BC6F-9B8BE16A664B}" type="pres">
      <dgm:prSet presAssocID="{81F1D17E-5225-4876-A035-4C887440E0E2}" presName="rootComposite" presStyleCnt="0"/>
      <dgm:spPr/>
    </dgm:pt>
    <dgm:pt modelId="{FF91BB56-2C26-4665-98AF-93AEF8C2E353}" type="pres">
      <dgm:prSet presAssocID="{81F1D17E-5225-4876-A035-4C887440E0E2}" presName="rootText" presStyleLbl="node2" presStyleIdx="3" presStyleCnt="4">
        <dgm:presLayoutVars>
          <dgm:chPref val="3"/>
        </dgm:presLayoutVars>
      </dgm:prSet>
      <dgm:spPr>
        <a:prstGeom prst="flowChartAlternateProcess">
          <a:avLst/>
        </a:prstGeom>
      </dgm:spPr>
      <dgm:t>
        <a:bodyPr/>
        <a:lstStyle/>
        <a:p>
          <a:pPr latinLnBrk="1"/>
          <a:endParaRPr lang="ko-KR" altLang="en-US"/>
        </a:p>
      </dgm:t>
    </dgm:pt>
    <dgm:pt modelId="{3965A6D7-7CC7-4B6F-A43B-1B77548D0291}" type="pres">
      <dgm:prSet presAssocID="{81F1D17E-5225-4876-A035-4C887440E0E2}" presName="rootConnector" presStyleLbl="node2" presStyleIdx="3" presStyleCnt="4"/>
      <dgm:spPr/>
      <dgm:t>
        <a:bodyPr/>
        <a:lstStyle/>
        <a:p>
          <a:pPr latinLnBrk="1"/>
          <a:endParaRPr lang="ko-KR" altLang="en-US"/>
        </a:p>
      </dgm:t>
    </dgm:pt>
    <dgm:pt modelId="{FD47114A-0FCF-4673-ACC5-CD2C92D45224}" type="pres">
      <dgm:prSet presAssocID="{81F1D17E-5225-4876-A035-4C887440E0E2}" presName="hierChild4" presStyleCnt="0"/>
      <dgm:spPr/>
    </dgm:pt>
    <dgm:pt modelId="{87BC8F90-9C8F-49DA-A408-A08B48203C5F}" type="pres">
      <dgm:prSet presAssocID="{81F1D17E-5225-4876-A035-4C887440E0E2}" presName="hierChild5" presStyleCnt="0"/>
      <dgm:spPr/>
    </dgm:pt>
    <dgm:pt modelId="{85B3B5F7-6A6F-4C70-8E4D-F86904A04E40}" type="pres">
      <dgm:prSet presAssocID="{BB39CC23-6641-4579-A09F-143D71D195CC}" presName="hierChild3" presStyleCnt="0"/>
      <dgm:spPr/>
    </dgm:pt>
  </dgm:ptLst>
  <dgm:cxnLst>
    <dgm:cxn modelId="{96CEAC2D-EF2E-4E3F-B83F-8A95CB4F5422}" type="presOf" srcId="{81F1D17E-5225-4876-A035-4C887440E0E2}" destId="{3965A6D7-7CC7-4B6F-A43B-1B77548D0291}" srcOrd="1" destOrd="0" presId="urn:microsoft.com/office/officeart/2005/8/layout/orgChart1"/>
    <dgm:cxn modelId="{6D27C7CD-6038-44D5-87AC-A3D2525798BE}" type="presOf" srcId="{B5BB6965-18BF-4518-9A7D-16CBD2F95A29}" destId="{AF9ED239-4FFD-4792-B6AC-4F34BD184AF0}" srcOrd="0" destOrd="0" presId="urn:microsoft.com/office/officeart/2005/8/layout/orgChart1"/>
    <dgm:cxn modelId="{8D32CD37-D239-4879-9625-4972AFCEE0D3}" srcId="{BB39CC23-6641-4579-A09F-143D71D195CC}" destId="{81F1D17E-5225-4876-A035-4C887440E0E2}" srcOrd="3" destOrd="0" parTransId="{ADBF9A0D-6110-486D-95CE-48F4CE8112D1}" sibTransId="{D9887700-7671-44B7-887A-DB5656FD446A}"/>
    <dgm:cxn modelId="{2271026A-202E-4348-BB1E-24AF629E5074}" type="presOf" srcId="{955EC21A-D2AB-43C7-B9AF-2CCE5EBEA114}" destId="{9580ED63-5BB7-46D8-9182-4326D5974CC9}" srcOrd="1" destOrd="0" presId="urn:microsoft.com/office/officeart/2005/8/layout/orgChart1"/>
    <dgm:cxn modelId="{9C220D29-4406-4987-AD6B-347DABE1CEE4}" type="presOf" srcId="{BCD1BE49-FDFC-4013-B16C-2EE94C88504E}" destId="{85EB0929-1DA3-4E4A-A8C7-D033D2F6ED52}" srcOrd="1" destOrd="0" presId="urn:microsoft.com/office/officeart/2005/8/layout/orgChart1"/>
    <dgm:cxn modelId="{63DA0790-BBA9-429B-9133-722D4D3E1ED1}" type="presOf" srcId="{F3A33AF1-B571-4916-A971-ACBEE5CF66AE}" destId="{2A197DA4-8EFE-401D-9FC9-FEB3E9111FB1}" srcOrd="0" destOrd="0" presId="urn:microsoft.com/office/officeart/2005/8/layout/orgChart1"/>
    <dgm:cxn modelId="{A199D562-5065-4073-9840-9EF3932D3202}" type="presOf" srcId="{6ACAC34D-5F2D-4238-85FD-FDB1B343519A}" destId="{5E201424-3083-4AFD-ACAC-0FC29AAAB78B}" srcOrd="0" destOrd="0" presId="urn:microsoft.com/office/officeart/2005/8/layout/orgChart1"/>
    <dgm:cxn modelId="{0264BD4F-9689-428F-8CA2-24C9E600208A}" type="presOf" srcId="{BB39CC23-6641-4579-A09F-143D71D195CC}" destId="{B2CB0CEF-A543-4D48-86EE-C85A4B0C6E60}" srcOrd="0" destOrd="0" presId="urn:microsoft.com/office/officeart/2005/8/layout/orgChart1"/>
    <dgm:cxn modelId="{5744FCCD-E0D6-4967-B64B-CDA680B300D3}" type="presOf" srcId="{BB39CC23-6641-4579-A09F-143D71D195CC}" destId="{49A2D507-0DC4-44FE-8AF3-043D0C7FF6CD}" srcOrd="1" destOrd="0" presId="urn:microsoft.com/office/officeart/2005/8/layout/orgChart1"/>
    <dgm:cxn modelId="{F2B5B523-F3EC-47D3-B179-B99CA47AC97C}" type="presOf" srcId="{6ACAC34D-5F2D-4238-85FD-FDB1B343519A}" destId="{5B9C14DC-79D6-480F-BA8E-DD5DCF3B8809}" srcOrd="1" destOrd="0" presId="urn:microsoft.com/office/officeart/2005/8/layout/orgChart1"/>
    <dgm:cxn modelId="{E8BF0EF1-714D-4AFE-B698-CA0F6A9C3157}" srcId="{BB39CC23-6641-4579-A09F-143D71D195CC}" destId="{6ACAC34D-5F2D-4238-85FD-FDB1B343519A}" srcOrd="1" destOrd="0" parTransId="{63BDE043-00EF-48FD-97E2-BCBDA07AF672}" sibTransId="{20D0EBA7-3799-43AD-AF9D-94A3D5ED744C}"/>
    <dgm:cxn modelId="{F18B88A9-1F23-4E7B-9187-4BA9D25C0412}" type="presOf" srcId="{81F1D17E-5225-4876-A035-4C887440E0E2}" destId="{FF91BB56-2C26-4665-98AF-93AEF8C2E353}" srcOrd="0" destOrd="0" presId="urn:microsoft.com/office/officeart/2005/8/layout/orgChart1"/>
    <dgm:cxn modelId="{06DAA87A-8494-45F2-AA5E-798288513533}" srcId="{BB39CC23-6641-4579-A09F-143D71D195CC}" destId="{BCD1BE49-FDFC-4013-B16C-2EE94C88504E}" srcOrd="0" destOrd="0" parTransId="{B5BB6965-18BF-4518-9A7D-16CBD2F95A29}" sibTransId="{8E7F38DD-342C-41E3-B681-F63793FD08F3}"/>
    <dgm:cxn modelId="{061632B4-A0B8-487F-AB61-644C4D795C14}" srcId="{BB39CC23-6641-4579-A09F-143D71D195CC}" destId="{955EC21A-D2AB-43C7-B9AF-2CCE5EBEA114}" srcOrd="2" destOrd="0" parTransId="{FFB1546E-3EE6-42E5-B7F3-F3E37AAE5383}" sibTransId="{DE8D1923-073F-40BB-9F6C-883E94566E2B}"/>
    <dgm:cxn modelId="{C71C2A6C-7013-42F5-B574-26B4F8AB3377}" srcId="{F3A33AF1-B571-4916-A971-ACBEE5CF66AE}" destId="{BB39CC23-6641-4579-A09F-143D71D195CC}" srcOrd="0" destOrd="0" parTransId="{E5E06D19-DD10-4366-B9D9-77AF08E62198}" sibTransId="{8E670178-C6AE-4F80-931A-ABA14FBC5A06}"/>
    <dgm:cxn modelId="{292FC238-269D-4A5B-AC08-695D33E2B7FA}" type="presOf" srcId="{955EC21A-D2AB-43C7-B9AF-2CCE5EBEA114}" destId="{B5CACB56-ECE7-44CE-8274-BA4B7399DB2C}" srcOrd="0" destOrd="0" presId="urn:microsoft.com/office/officeart/2005/8/layout/orgChart1"/>
    <dgm:cxn modelId="{2AEB50DC-32AC-4958-B346-CF34AB9AF880}" type="presOf" srcId="{FFB1546E-3EE6-42E5-B7F3-F3E37AAE5383}" destId="{89FAF3C9-5540-43E9-AD60-6E9258AC8D19}" srcOrd="0" destOrd="0" presId="urn:microsoft.com/office/officeart/2005/8/layout/orgChart1"/>
    <dgm:cxn modelId="{0E285937-51E3-496C-ADB5-D8B14F816372}" type="presOf" srcId="{ADBF9A0D-6110-486D-95CE-48F4CE8112D1}" destId="{60EE34BF-E26C-4D32-B74A-BB1E81AA5D28}" srcOrd="0" destOrd="0" presId="urn:microsoft.com/office/officeart/2005/8/layout/orgChart1"/>
    <dgm:cxn modelId="{A0D7743A-D289-4F73-9632-2B721350D695}" type="presOf" srcId="{63BDE043-00EF-48FD-97E2-BCBDA07AF672}" destId="{CD0C7830-EF60-4BC2-BAFD-D25393C98F37}" srcOrd="0" destOrd="0" presId="urn:microsoft.com/office/officeart/2005/8/layout/orgChart1"/>
    <dgm:cxn modelId="{7833EF49-1095-43C4-B006-41D859ED8D28}" type="presOf" srcId="{BCD1BE49-FDFC-4013-B16C-2EE94C88504E}" destId="{FEEE9DFE-2886-484E-906A-C5C1160E6BD1}" srcOrd="0" destOrd="0" presId="urn:microsoft.com/office/officeart/2005/8/layout/orgChart1"/>
    <dgm:cxn modelId="{493BB5C6-1AED-4222-8336-01721598EA1F}" type="presParOf" srcId="{2A197DA4-8EFE-401D-9FC9-FEB3E9111FB1}" destId="{C42F0944-C906-4CD9-BE27-1318086757BC}" srcOrd="0" destOrd="0" presId="urn:microsoft.com/office/officeart/2005/8/layout/orgChart1"/>
    <dgm:cxn modelId="{FDA8B0C2-B7A2-49C0-AC89-8B70D357FBD1}" type="presParOf" srcId="{C42F0944-C906-4CD9-BE27-1318086757BC}" destId="{5EAAC82A-46C3-4445-814D-4DB98AA19E2C}" srcOrd="0" destOrd="0" presId="urn:microsoft.com/office/officeart/2005/8/layout/orgChart1"/>
    <dgm:cxn modelId="{AFEBD508-34B5-4BB0-B124-753299CD116D}" type="presParOf" srcId="{5EAAC82A-46C3-4445-814D-4DB98AA19E2C}" destId="{B2CB0CEF-A543-4D48-86EE-C85A4B0C6E60}" srcOrd="0" destOrd="0" presId="urn:microsoft.com/office/officeart/2005/8/layout/orgChart1"/>
    <dgm:cxn modelId="{AE1A5497-BDA9-4410-8E01-F940D38B65DC}" type="presParOf" srcId="{5EAAC82A-46C3-4445-814D-4DB98AA19E2C}" destId="{49A2D507-0DC4-44FE-8AF3-043D0C7FF6CD}" srcOrd="1" destOrd="0" presId="urn:microsoft.com/office/officeart/2005/8/layout/orgChart1"/>
    <dgm:cxn modelId="{C3CD74C2-CB07-4FAC-A24F-BE9642DC0554}" type="presParOf" srcId="{C42F0944-C906-4CD9-BE27-1318086757BC}" destId="{D7F15C06-487B-4B54-87F8-D70D3E737C99}" srcOrd="1" destOrd="0" presId="urn:microsoft.com/office/officeart/2005/8/layout/orgChart1"/>
    <dgm:cxn modelId="{59733239-1934-447B-8177-4CC58E219234}" type="presParOf" srcId="{D7F15C06-487B-4B54-87F8-D70D3E737C99}" destId="{AF9ED239-4FFD-4792-B6AC-4F34BD184AF0}" srcOrd="0" destOrd="0" presId="urn:microsoft.com/office/officeart/2005/8/layout/orgChart1"/>
    <dgm:cxn modelId="{A47AC5BE-E759-4C19-953B-A30A79A5B7CB}" type="presParOf" srcId="{D7F15C06-487B-4B54-87F8-D70D3E737C99}" destId="{D8C72238-2D85-46A7-A37B-CCEA999A5864}" srcOrd="1" destOrd="0" presId="urn:microsoft.com/office/officeart/2005/8/layout/orgChart1"/>
    <dgm:cxn modelId="{9D3A1233-5583-432A-922F-EC6B93485CC1}" type="presParOf" srcId="{D8C72238-2D85-46A7-A37B-CCEA999A5864}" destId="{B9F3A244-E932-4FB2-9CEE-6A0EBC1EB69B}" srcOrd="0" destOrd="0" presId="urn:microsoft.com/office/officeart/2005/8/layout/orgChart1"/>
    <dgm:cxn modelId="{05BF31BA-9737-4E0E-8C01-C50A4F06F0B6}" type="presParOf" srcId="{B9F3A244-E932-4FB2-9CEE-6A0EBC1EB69B}" destId="{FEEE9DFE-2886-484E-906A-C5C1160E6BD1}" srcOrd="0" destOrd="0" presId="urn:microsoft.com/office/officeart/2005/8/layout/orgChart1"/>
    <dgm:cxn modelId="{625C97F6-F0BA-4DBF-A5F9-A77A607BA95E}" type="presParOf" srcId="{B9F3A244-E932-4FB2-9CEE-6A0EBC1EB69B}" destId="{85EB0929-1DA3-4E4A-A8C7-D033D2F6ED52}" srcOrd="1" destOrd="0" presId="urn:microsoft.com/office/officeart/2005/8/layout/orgChart1"/>
    <dgm:cxn modelId="{044E6EB3-28B6-448C-8679-6282D6ED6EF0}" type="presParOf" srcId="{D8C72238-2D85-46A7-A37B-CCEA999A5864}" destId="{CA47D86A-4408-4C43-9013-BD61238A0053}" srcOrd="1" destOrd="0" presId="urn:microsoft.com/office/officeart/2005/8/layout/orgChart1"/>
    <dgm:cxn modelId="{CE32C220-E135-4CB7-B15A-8C5E9725B4A8}" type="presParOf" srcId="{D8C72238-2D85-46A7-A37B-CCEA999A5864}" destId="{AB3A74CE-58BB-4AD2-AA9F-A65C10A89790}" srcOrd="2" destOrd="0" presId="urn:microsoft.com/office/officeart/2005/8/layout/orgChart1"/>
    <dgm:cxn modelId="{1264E113-5D40-4C45-BD34-4B2AA696C092}" type="presParOf" srcId="{D7F15C06-487B-4B54-87F8-D70D3E737C99}" destId="{CD0C7830-EF60-4BC2-BAFD-D25393C98F37}" srcOrd="2" destOrd="0" presId="urn:microsoft.com/office/officeart/2005/8/layout/orgChart1"/>
    <dgm:cxn modelId="{D20E2A9D-5A93-4B19-A881-60DC1E641C41}" type="presParOf" srcId="{D7F15C06-487B-4B54-87F8-D70D3E737C99}" destId="{D17D5A31-3CC1-41C8-A6CE-2D5142A019F9}" srcOrd="3" destOrd="0" presId="urn:microsoft.com/office/officeart/2005/8/layout/orgChart1"/>
    <dgm:cxn modelId="{7240EF10-6D73-4496-ADEB-0D388A90F565}" type="presParOf" srcId="{D17D5A31-3CC1-41C8-A6CE-2D5142A019F9}" destId="{9EC62997-3106-48B7-90ED-536B20C5BFB1}" srcOrd="0" destOrd="0" presId="urn:microsoft.com/office/officeart/2005/8/layout/orgChart1"/>
    <dgm:cxn modelId="{010316C5-D47C-479A-AA72-0AF4AF15A9F9}" type="presParOf" srcId="{9EC62997-3106-48B7-90ED-536B20C5BFB1}" destId="{5E201424-3083-4AFD-ACAC-0FC29AAAB78B}" srcOrd="0" destOrd="0" presId="urn:microsoft.com/office/officeart/2005/8/layout/orgChart1"/>
    <dgm:cxn modelId="{86CC0C4A-73AD-4F75-BE79-20FAB05D2729}" type="presParOf" srcId="{9EC62997-3106-48B7-90ED-536B20C5BFB1}" destId="{5B9C14DC-79D6-480F-BA8E-DD5DCF3B8809}" srcOrd="1" destOrd="0" presId="urn:microsoft.com/office/officeart/2005/8/layout/orgChart1"/>
    <dgm:cxn modelId="{C7E3EEA1-B14C-4BF4-AC89-943C8AF85E1C}" type="presParOf" srcId="{D17D5A31-3CC1-41C8-A6CE-2D5142A019F9}" destId="{B1F509AA-C903-44E5-89C0-3DF3E22362AC}" srcOrd="1" destOrd="0" presId="urn:microsoft.com/office/officeart/2005/8/layout/orgChart1"/>
    <dgm:cxn modelId="{2C29C857-B618-40BC-9240-5DA2CE26202A}" type="presParOf" srcId="{D17D5A31-3CC1-41C8-A6CE-2D5142A019F9}" destId="{3B194C3C-CF1F-4746-9124-F3D713DC67A9}" srcOrd="2" destOrd="0" presId="urn:microsoft.com/office/officeart/2005/8/layout/orgChart1"/>
    <dgm:cxn modelId="{1BC39403-1CE6-4C4D-822C-864192EC0A4D}" type="presParOf" srcId="{D7F15C06-487B-4B54-87F8-D70D3E737C99}" destId="{89FAF3C9-5540-43E9-AD60-6E9258AC8D19}" srcOrd="4" destOrd="0" presId="urn:microsoft.com/office/officeart/2005/8/layout/orgChart1"/>
    <dgm:cxn modelId="{86CB0FF9-DF59-4B07-8AB2-0B64933C681A}" type="presParOf" srcId="{D7F15C06-487B-4B54-87F8-D70D3E737C99}" destId="{3E8113F3-FB52-4A79-AB10-B34E495AC85A}" srcOrd="5" destOrd="0" presId="urn:microsoft.com/office/officeart/2005/8/layout/orgChart1"/>
    <dgm:cxn modelId="{F1396BA6-734E-4B5E-8B86-3D601DD10B11}" type="presParOf" srcId="{3E8113F3-FB52-4A79-AB10-B34E495AC85A}" destId="{C66F961E-4982-480C-8A4A-E3F2425764AE}" srcOrd="0" destOrd="0" presId="urn:microsoft.com/office/officeart/2005/8/layout/orgChart1"/>
    <dgm:cxn modelId="{C6250048-C33C-4C2F-AFAE-7F3A2B9946FF}" type="presParOf" srcId="{C66F961E-4982-480C-8A4A-E3F2425764AE}" destId="{B5CACB56-ECE7-44CE-8274-BA4B7399DB2C}" srcOrd="0" destOrd="0" presId="urn:microsoft.com/office/officeart/2005/8/layout/orgChart1"/>
    <dgm:cxn modelId="{BD72651A-AB74-4AFE-9664-7323AA93FD79}" type="presParOf" srcId="{C66F961E-4982-480C-8A4A-E3F2425764AE}" destId="{9580ED63-5BB7-46D8-9182-4326D5974CC9}" srcOrd="1" destOrd="0" presId="urn:microsoft.com/office/officeart/2005/8/layout/orgChart1"/>
    <dgm:cxn modelId="{8BE39619-6D79-4108-891A-D829760C5BB7}" type="presParOf" srcId="{3E8113F3-FB52-4A79-AB10-B34E495AC85A}" destId="{1C0F38BE-AC55-4239-B729-5CBD21329E64}" srcOrd="1" destOrd="0" presId="urn:microsoft.com/office/officeart/2005/8/layout/orgChart1"/>
    <dgm:cxn modelId="{A883E73C-F34C-4C24-91FD-A6050F04BE0A}" type="presParOf" srcId="{3E8113F3-FB52-4A79-AB10-B34E495AC85A}" destId="{F7ADB428-85DB-466B-B75C-D599413205BE}" srcOrd="2" destOrd="0" presId="urn:microsoft.com/office/officeart/2005/8/layout/orgChart1"/>
    <dgm:cxn modelId="{869B863A-5C91-4894-8E75-822A373E77D2}" type="presParOf" srcId="{D7F15C06-487B-4B54-87F8-D70D3E737C99}" destId="{60EE34BF-E26C-4D32-B74A-BB1E81AA5D28}" srcOrd="6" destOrd="0" presId="urn:microsoft.com/office/officeart/2005/8/layout/orgChart1"/>
    <dgm:cxn modelId="{8D60D342-43E4-4678-8674-23F25B912E15}" type="presParOf" srcId="{D7F15C06-487B-4B54-87F8-D70D3E737C99}" destId="{D0A9DB89-2979-4EDA-B38B-2FF91EE5C9AE}" srcOrd="7" destOrd="0" presId="urn:microsoft.com/office/officeart/2005/8/layout/orgChart1"/>
    <dgm:cxn modelId="{F0C8BCD9-AB30-47E3-9494-95052AB2FF20}" type="presParOf" srcId="{D0A9DB89-2979-4EDA-B38B-2FF91EE5C9AE}" destId="{C074DCBF-0EF7-4E65-BC6F-9B8BE16A664B}" srcOrd="0" destOrd="0" presId="urn:microsoft.com/office/officeart/2005/8/layout/orgChart1"/>
    <dgm:cxn modelId="{2BE99098-4B37-4B9B-A153-F7C3E103EB6A}" type="presParOf" srcId="{C074DCBF-0EF7-4E65-BC6F-9B8BE16A664B}" destId="{FF91BB56-2C26-4665-98AF-93AEF8C2E353}" srcOrd="0" destOrd="0" presId="urn:microsoft.com/office/officeart/2005/8/layout/orgChart1"/>
    <dgm:cxn modelId="{46D6A715-C199-4063-A01C-CCD1978966B0}" type="presParOf" srcId="{C074DCBF-0EF7-4E65-BC6F-9B8BE16A664B}" destId="{3965A6D7-7CC7-4B6F-A43B-1B77548D0291}" srcOrd="1" destOrd="0" presId="urn:microsoft.com/office/officeart/2005/8/layout/orgChart1"/>
    <dgm:cxn modelId="{1D33A8CC-3CF0-435B-8B06-DBBB4F528B10}" type="presParOf" srcId="{D0A9DB89-2979-4EDA-B38B-2FF91EE5C9AE}" destId="{FD47114A-0FCF-4673-ACC5-CD2C92D45224}" srcOrd="1" destOrd="0" presId="urn:microsoft.com/office/officeart/2005/8/layout/orgChart1"/>
    <dgm:cxn modelId="{EEE9AE1A-835D-4F09-94A1-A892917C42AA}" type="presParOf" srcId="{D0A9DB89-2979-4EDA-B38B-2FF91EE5C9AE}" destId="{87BC8F90-9C8F-49DA-A408-A08B48203C5F}" srcOrd="2" destOrd="0" presId="urn:microsoft.com/office/officeart/2005/8/layout/orgChart1"/>
    <dgm:cxn modelId="{9236C1A2-0EBE-4527-AC48-0F0E3094960A}" type="presParOf" srcId="{C42F0944-C906-4CD9-BE27-1318086757BC}" destId="{85B3B5F7-6A6F-4C70-8E4D-F86904A04E4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385F84-002A-4002-9020-DDBB77B4F972}">
      <dsp:nvSpPr>
        <dsp:cNvPr id="0" name=""/>
        <dsp:cNvSpPr/>
      </dsp:nvSpPr>
      <dsp:spPr>
        <a:xfrm>
          <a:off x="2784875" y="796537"/>
          <a:ext cx="2448322" cy="1227236"/>
        </a:xfrm>
        <a:custGeom>
          <a:avLst/>
          <a:gdLst/>
          <a:ahLst/>
          <a:cxnLst/>
          <a:rect l="0" t="0" r="0" b="0"/>
          <a:pathLst>
            <a:path>
              <a:moveTo>
                <a:pt x="2448322" y="0"/>
              </a:moveTo>
              <a:lnTo>
                <a:pt x="2448322" y="1227236"/>
              </a:lnTo>
              <a:lnTo>
                <a:pt x="0" y="1227236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A49767-0047-4448-93B2-AFD4B058483F}">
      <dsp:nvSpPr>
        <dsp:cNvPr id="0" name=""/>
        <dsp:cNvSpPr/>
      </dsp:nvSpPr>
      <dsp:spPr>
        <a:xfrm>
          <a:off x="5233197" y="796537"/>
          <a:ext cx="2991455" cy="700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0127"/>
              </a:lnTo>
              <a:lnTo>
                <a:pt x="2991455" y="70012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A90BCC-8CEA-4117-9923-C6A6BEBF033D}">
      <dsp:nvSpPr>
        <dsp:cNvPr id="0" name=""/>
        <dsp:cNvSpPr/>
      </dsp:nvSpPr>
      <dsp:spPr>
        <a:xfrm>
          <a:off x="5233197" y="796537"/>
          <a:ext cx="726533" cy="7001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0127"/>
              </a:lnTo>
              <a:lnTo>
                <a:pt x="726533" y="70012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2A30CB-C78B-4A2F-9A34-72FC2572DDBE}">
      <dsp:nvSpPr>
        <dsp:cNvPr id="0" name=""/>
        <dsp:cNvSpPr/>
      </dsp:nvSpPr>
      <dsp:spPr>
        <a:xfrm>
          <a:off x="5233197" y="796537"/>
          <a:ext cx="41121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91365"/>
              </a:lnTo>
              <a:lnTo>
                <a:pt x="4112199" y="2591365"/>
              </a:lnTo>
              <a:lnTo>
                <a:pt x="4112199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FB9173-B0A9-4AED-8FC5-D17C5AB997C2}">
      <dsp:nvSpPr>
        <dsp:cNvPr id="0" name=""/>
        <dsp:cNvSpPr/>
      </dsp:nvSpPr>
      <dsp:spPr>
        <a:xfrm>
          <a:off x="5233197" y="796537"/>
          <a:ext cx="20560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91365"/>
              </a:lnTo>
              <a:lnTo>
                <a:pt x="2056099" y="2591365"/>
              </a:lnTo>
              <a:lnTo>
                <a:pt x="2056099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3395A4-90E1-46AC-B7EE-01199A7143C8}">
      <dsp:nvSpPr>
        <dsp:cNvPr id="0" name=""/>
        <dsp:cNvSpPr/>
      </dsp:nvSpPr>
      <dsp:spPr>
        <a:xfrm>
          <a:off x="5187477" y="796537"/>
          <a:ext cx="91440" cy="276978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902175-DFC9-4C14-8763-8687DAB27D38}">
      <dsp:nvSpPr>
        <dsp:cNvPr id="0" name=""/>
        <dsp:cNvSpPr/>
      </dsp:nvSpPr>
      <dsp:spPr>
        <a:xfrm>
          <a:off x="3177097" y="796537"/>
          <a:ext cx="20560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2056099" y="0"/>
              </a:moveTo>
              <a:lnTo>
                <a:pt x="2056099" y="2591365"/>
              </a:lnTo>
              <a:lnTo>
                <a:pt x="0" y="2591365"/>
              </a:lnTo>
              <a:lnTo>
                <a:pt x="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AE0489-87A6-4494-8955-BBE2980E6038}">
      <dsp:nvSpPr>
        <dsp:cNvPr id="0" name=""/>
        <dsp:cNvSpPr/>
      </dsp:nvSpPr>
      <dsp:spPr>
        <a:xfrm>
          <a:off x="1120997" y="796537"/>
          <a:ext cx="4112199" cy="2769787"/>
        </a:xfrm>
        <a:custGeom>
          <a:avLst/>
          <a:gdLst/>
          <a:ahLst/>
          <a:cxnLst/>
          <a:rect l="0" t="0" r="0" b="0"/>
          <a:pathLst>
            <a:path>
              <a:moveTo>
                <a:pt x="4112199" y="0"/>
              </a:moveTo>
              <a:lnTo>
                <a:pt x="4112199" y="2591365"/>
              </a:lnTo>
              <a:lnTo>
                <a:pt x="0" y="2591365"/>
              </a:lnTo>
              <a:lnTo>
                <a:pt x="0" y="2769787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E2AA96-355F-40E2-9C5E-827AEC66DDD3}">
      <dsp:nvSpPr>
        <dsp:cNvPr id="0" name=""/>
        <dsp:cNvSpPr/>
      </dsp:nvSpPr>
      <dsp:spPr>
        <a:xfrm>
          <a:off x="4348581" y="538"/>
          <a:ext cx="1769231" cy="795999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4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메인</a:t>
          </a:r>
        </a:p>
      </dsp:txBody>
      <dsp:txXfrm>
        <a:off x="4387438" y="39395"/>
        <a:ext cx="1691517" cy="718285"/>
      </dsp:txXfrm>
    </dsp:sp>
    <dsp:sp modelId="{D38ADBEA-2467-4A72-BED6-41F8A402BF79}">
      <dsp:nvSpPr>
        <dsp:cNvPr id="0" name=""/>
        <dsp:cNvSpPr/>
      </dsp:nvSpPr>
      <dsp:spPr>
        <a:xfrm>
          <a:off x="2713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sp:txBody>
      <dsp:txXfrm>
        <a:off x="312844" y="3607799"/>
        <a:ext cx="1616306" cy="766678"/>
      </dsp:txXfrm>
    </dsp:sp>
    <dsp:sp modelId="{10BF6A9E-6169-4797-9790-CA387508D5AE}">
      <dsp:nvSpPr>
        <dsp:cNvPr id="0" name=""/>
        <dsp:cNvSpPr/>
      </dsp:nvSpPr>
      <dsp:spPr>
        <a:xfrm>
          <a:off x="23274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레시피</a:t>
          </a:r>
        </a:p>
      </dsp:txBody>
      <dsp:txXfrm>
        <a:off x="2368944" y="3607799"/>
        <a:ext cx="1616306" cy="766678"/>
      </dsp:txXfrm>
    </dsp:sp>
    <dsp:sp modelId="{9208F54D-27B9-4136-92F5-2328221D9B9A}">
      <dsp:nvSpPr>
        <dsp:cNvPr id="0" name=""/>
        <dsp:cNvSpPr/>
      </dsp:nvSpPr>
      <dsp:spPr>
        <a:xfrm>
          <a:off x="43835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sp:txBody>
      <dsp:txXfrm>
        <a:off x="4425044" y="3607799"/>
        <a:ext cx="1616306" cy="766678"/>
      </dsp:txXfrm>
    </dsp:sp>
    <dsp:sp modelId="{19C8F406-FEF9-4A93-A56C-60F1F010C087}">
      <dsp:nvSpPr>
        <dsp:cNvPr id="0" name=""/>
        <dsp:cNvSpPr/>
      </dsp:nvSpPr>
      <dsp:spPr>
        <a:xfrm>
          <a:off x="64396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sp:txBody>
      <dsp:txXfrm>
        <a:off x="6481144" y="3607799"/>
        <a:ext cx="1616306" cy="766678"/>
      </dsp:txXfrm>
    </dsp:sp>
    <dsp:sp modelId="{1CB8372E-D491-482E-A78F-4BFFD3E950FA}">
      <dsp:nvSpPr>
        <dsp:cNvPr id="0" name=""/>
        <dsp:cNvSpPr/>
      </dsp:nvSpPr>
      <dsp:spPr>
        <a:xfrm>
          <a:off x="8495769" y="3566324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서브메뉴</a:t>
          </a:r>
        </a:p>
      </dsp:txBody>
      <dsp:txXfrm>
        <a:off x="8537244" y="3607799"/>
        <a:ext cx="1616306" cy="766678"/>
      </dsp:txXfrm>
    </dsp:sp>
    <dsp:sp modelId="{F72D2F8C-9CA9-4274-BF02-1C1733DAA018}">
      <dsp:nvSpPr>
        <dsp:cNvPr id="0" name=""/>
        <dsp:cNvSpPr/>
      </dsp:nvSpPr>
      <dsp:spPr>
        <a:xfrm>
          <a:off x="5959731" y="1071851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로그인</a:t>
          </a:r>
        </a:p>
      </dsp:txBody>
      <dsp:txXfrm>
        <a:off x="6001206" y="1113326"/>
        <a:ext cx="1616306" cy="766678"/>
      </dsp:txXfrm>
    </dsp:sp>
    <dsp:sp modelId="{A7057D2A-ADF3-4D9E-B785-CAB8CCB3689A}">
      <dsp:nvSpPr>
        <dsp:cNvPr id="0" name=""/>
        <dsp:cNvSpPr/>
      </dsp:nvSpPr>
      <dsp:spPr>
        <a:xfrm>
          <a:off x="8224652" y="1071851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가입</a:t>
          </a:r>
        </a:p>
      </dsp:txBody>
      <dsp:txXfrm>
        <a:off x="8266127" y="1113326"/>
        <a:ext cx="1616306" cy="766678"/>
      </dsp:txXfrm>
    </dsp:sp>
    <dsp:sp modelId="{2FDCBB41-2E65-4F94-BA4A-39C9A4D2DF74}">
      <dsp:nvSpPr>
        <dsp:cNvPr id="0" name=""/>
        <dsp:cNvSpPr/>
      </dsp:nvSpPr>
      <dsp:spPr>
        <a:xfrm>
          <a:off x="1085619" y="1598960"/>
          <a:ext cx="1699256" cy="849628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고객의 소리</a:t>
          </a:r>
        </a:p>
      </dsp:txBody>
      <dsp:txXfrm>
        <a:off x="1127094" y="1640435"/>
        <a:ext cx="1616306" cy="7666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C62195-0018-4517-BCEF-F79F88221AA6}">
      <dsp:nvSpPr>
        <dsp:cNvPr id="0" name=""/>
        <dsp:cNvSpPr/>
      </dsp:nvSpPr>
      <dsp:spPr>
        <a:xfrm>
          <a:off x="5430434" y="2523581"/>
          <a:ext cx="4525936" cy="4976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647"/>
              </a:lnTo>
              <a:lnTo>
                <a:pt x="4525936" y="303647"/>
              </a:lnTo>
              <a:lnTo>
                <a:pt x="4525936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2C5DD-D124-466C-9EAB-77FEDFF0781B}">
      <dsp:nvSpPr>
        <dsp:cNvPr id="0" name=""/>
        <dsp:cNvSpPr/>
      </dsp:nvSpPr>
      <dsp:spPr>
        <a:xfrm>
          <a:off x="5430434" y="2523581"/>
          <a:ext cx="2236278" cy="4976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647"/>
              </a:lnTo>
              <a:lnTo>
                <a:pt x="2236278" y="303647"/>
              </a:lnTo>
              <a:lnTo>
                <a:pt x="2236278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B47C38-5A4E-4704-9E44-4DB44CD2C562}">
      <dsp:nvSpPr>
        <dsp:cNvPr id="0" name=""/>
        <dsp:cNvSpPr/>
      </dsp:nvSpPr>
      <dsp:spPr>
        <a:xfrm>
          <a:off x="5384714" y="2523581"/>
          <a:ext cx="91440" cy="4976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3647"/>
              </a:lnTo>
              <a:lnTo>
                <a:pt x="47161" y="303647"/>
              </a:lnTo>
              <a:lnTo>
                <a:pt x="47161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183899-82B2-4747-BB2C-BE647FDB4545}">
      <dsp:nvSpPr>
        <dsp:cNvPr id="0" name=""/>
        <dsp:cNvSpPr/>
      </dsp:nvSpPr>
      <dsp:spPr>
        <a:xfrm>
          <a:off x="3208973" y="2523581"/>
          <a:ext cx="2221460" cy="497652"/>
        </a:xfrm>
        <a:custGeom>
          <a:avLst/>
          <a:gdLst/>
          <a:ahLst/>
          <a:cxnLst/>
          <a:rect l="0" t="0" r="0" b="0"/>
          <a:pathLst>
            <a:path>
              <a:moveTo>
                <a:pt x="2221460" y="0"/>
              </a:moveTo>
              <a:lnTo>
                <a:pt x="2221460" y="303647"/>
              </a:lnTo>
              <a:lnTo>
                <a:pt x="0" y="303647"/>
              </a:lnTo>
              <a:lnTo>
                <a:pt x="0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887089-F75D-4BC7-9CA6-991BAFD3DFF2}">
      <dsp:nvSpPr>
        <dsp:cNvPr id="0" name=""/>
        <dsp:cNvSpPr/>
      </dsp:nvSpPr>
      <dsp:spPr>
        <a:xfrm>
          <a:off x="932951" y="2523581"/>
          <a:ext cx="4497482" cy="497652"/>
        </a:xfrm>
        <a:custGeom>
          <a:avLst/>
          <a:gdLst/>
          <a:ahLst/>
          <a:cxnLst/>
          <a:rect l="0" t="0" r="0" b="0"/>
          <a:pathLst>
            <a:path>
              <a:moveTo>
                <a:pt x="4497482" y="0"/>
              </a:moveTo>
              <a:lnTo>
                <a:pt x="4497482" y="303647"/>
              </a:lnTo>
              <a:lnTo>
                <a:pt x="0" y="303647"/>
              </a:lnTo>
              <a:lnTo>
                <a:pt x="0" y="49765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4559680" y="1599744"/>
          <a:ext cx="1741508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냉장고</a:t>
          </a:r>
        </a:p>
      </dsp:txBody>
      <dsp:txXfrm>
        <a:off x="4604777" y="1644841"/>
        <a:ext cx="1651314" cy="833643"/>
      </dsp:txXfrm>
    </dsp:sp>
    <dsp:sp modelId="{D67DBF64-1C7E-4956-A9BC-72C829784B68}">
      <dsp:nvSpPr>
        <dsp:cNvPr id="0" name=""/>
        <dsp:cNvSpPr/>
      </dsp:nvSpPr>
      <dsp:spPr>
        <a:xfrm>
          <a:off x="9113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정보</a:t>
          </a:r>
        </a:p>
      </dsp:txBody>
      <dsp:txXfrm>
        <a:off x="54210" y="3066331"/>
        <a:ext cx="1757481" cy="833643"/>
      </dsp:txXfrm>
    </dsp:sp>
    <dsp:sp modelId="{5E201424-3083-4AFD-ACAC-0FC29AAAB78B}">
      <dsp:nvSpPr>
        <dsp:cNvPr id="0" name=""/>
        <dsp:cNvSpPr/>
      </dsp:nvSpPr>
      <dsp:spPr>
        <a:xfrm>
          <a:off x="2244801" y="3021234"/>
          <a:ext cx="192834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록한 재료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정보</a:t>
          </a:r>
        </a:p>
      </dsp:txBody>
      <dsp:txXfrm>
        <a:off x="2289898" y="3066331"/>
        <a:ext cx="1838151" cy="833643"/>
      </dsp:txXfrm>
    </dsp:sp>
    <dsp:sp modelId="{B5CACB56-ECE7-44CE-8274-BA4B7399DB2C}">
      <dsp:nvSpPr>
        <dsp:cNvPr id="0" name=""/>
        <dsp:cNvSpPr/>
      </dsp:nvSpPr>
      <dsp:spPr>
        <a:xfrm>
          <a:off x="4508037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추천</a:t>
          </a:r>
        </a:p>
      </dsp:txBody>
      <dsp:txXfrm>
        <a:off x="4553134" y="3066331"/>
        <a:ext cx="1757481" cy="833643"/>
      </dsp:txXfrm>
    </dsp:sp>
    <dsp:sp modelId="{DAE66D97-9D2C-4CF2-B8D6-4FF5EED84CDE}">
      <dsp:nvSpPr>
        <dsp:cNvPr id="0" name=""/>
        <dsp:cNvSpPr/>
      </dsp:nvSpPr>
      <dsp:spPr>
        <a:xfrm>
          <a:off x="6742875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새 </a:t>
          </a:r>
          <a:r>
            <a:rPr lang="ko-KR" altLang="en-US" sz="1800" kern="1200" dirty="0" smtClean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냉장고 추가</a:t>
          </a:r>
          <a:endParaRPr lang="ko-KR" altLang="en-US" sz="1800" kern="12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sp:txBody>
      <dsp:txXfrm>
        <a:off x="6787972" y="3066331"/>
        <a:ext cx="1757481" cy="833643"/>
      </dsp:txXfrm>
    </dsp:sp>
    <dsp:sp modelId="{FF91BB56-2C26-4665-98AF-93AEF8C2E353}">
      <dsp:nvSpPr>
        <dsp:cNvPr id="0" name=""/>
        <dsp:cNvSpPr/>
      </dsp:nvSpPr>
      <dsp:spPr>
        <a:xfrm>
          <a:off x="9032533" y="3021234"/>
          <a:ext cx="1847675" cy="923837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재료 노트</a:t>
          </a:r>
        </a:p>
      </dsp:txBody>
      <dsp:txXfrm>
        <a:off x="9077630" y="3066331"/>
        <a:ext cx="1757481" cy="8336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B13F59-E888-480C-9F38-5686D677B547}">
      <dsp:nvSpPr>
        <dsp:cNvPr id="0" name=""/>
        <dsp:cNvSpPr/>
      </dsp:nvSpPr>
      <dsp:spPr>
        <a:xfrm>
          <a:off x="5979457" y="958012"/>
          <a:ext cx="3477585" cy="402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631"/>
              </a:lnTo>
              <a:lnTo>
                <a:pt x="3477585" y="201631"/>
              </a:lnTo>
              <a:lnTo>
                <a:pt x="3477585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0DE177-8222-4D71-AF4F-1405C3F6732D}">
      <dsp:nvSpPr>
        <dsp:cNvPr id="0" name=""/>
        <dsp:cNvSpPr/>
      </dsp:nvSpPr>
      <dsp:spPr>
        <a:xfrm>
          <a:off x="5979457" y="958012"/>
          <a:ext cx="1159195" cy="402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631"/>
              </a:lnTo>
              <a:lnTo>
                <a:pt x="1159195" y="201631"/>
              </a:lnTo>
              <a:lnTo>
                <a:pt x="1159195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092C86-2301-4A46-9195-8A6BF4409F55}">
      <dsp:nvSpPr>
        <dsp:cNvPr id="0" name=""/>
        <dsp:cNvSpPr/>
      </dsp:nvSpPr>
      <dsp:spPr>
        <a:xfrm>
          <a:off x="4820262" y="958012"/>
          <a:ext cx="1159195" cy="402814"/>
        </a:xfrm>
        <a:custGeom>
          <a:avLst/>
          <a:gdLst/>
          <a:ahLst/>
          <a:cxnLst/>
          <a:rect l="0" t="0" r="0" b="0"/>
          <a:pathLst>
            <a:path>
              <a:moveTo>
                <a:pt x="1159195" y="0"/>
              </a:moveTo>
              <a:lnTo>
                <a:pt x="1159195" y="201631"/>
              </a:lnTo>
              <a:lnTo>
                <a:pt x="0" y="201631"/>
              </a:lnTo>
              <a:lnTo>
                <a:pt x="0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339683-FD12-45C2-A60E-5808D8CB10E9}">
      <dsp:nvSpPr>
        <dsp:cNvPr id="0" name=""/>
        <dsp:cNvSpPr/>
      </dsp:nvSpPr>
      <dsp:spPr>
        <a:xfrm>
          <a:off x="2501872" y="958012"/>
          <a:ext cx="3477585" cy="402814"/>
        </a:xfrm>
        <a:custGeom>
          <a:avLst/>
          <a:gdLst/>
          <a:ahLst/>
          <a:cxnLst/>
          <a:rect l="0" t="0" r="0" b="0"/>
          <a:pathLst>
            <a:path>
              <a:moveTo>
                <a:pt x="3477585" y="0"/>
              </a:moveTo>
              <a:lnTo>
                <a:pt x="3477585" y="201631"/>
              </a:lnTo>
              <a:lnTo>
                <a:pt x="0" y="201631"/>
              </a:lnTo>
              <a:lnTo>
                <a:pt x="0" y="40281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5021445" y="0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sp:txBody>
      <dsp:txXfrm>
        <a:off x="5068210" y="46765"/>
        <a:ext cx="1822495" cy="864482"/>
      </dsp:txXfrm>
    </dsp:sp>
    <dsp:sp modelId="{5E201424-3083-4AFD-ACAC-0FC29AAAB78B}">
      <dsp:nvSpPr>
        <dsp:cNvPr id="0" name=""/>
        <dsp:cNvSpPr/>
      </dsp:nvSpPr>
      <dsp:spPr>
        <a:xfrm>
          <a:off x="1543859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검색</a:t>
          </a:r>
        </a:p>
      </dsp:txBody>
      <dsp:txXfrm>
        <a:off x="1590624" y="1407591"/>
        <a:ext cx="1822495" cy="864482"/>
      </dsp:txXfrm>
    </dsp:sp>
    <dsp:sp modelId="{B5CACB56-ECE7-44CE-8274-BA4B7399DB2C}">
      <dsp:nvSpPr>
        <dsp:cNvPr id="0" name=""/>
        <dsp:cNvSpPr/>
      </dsp:nvSpPr>
      <dsp:spPr>
        <a:xfrm>
          <a:off x="386225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조회</a:t>
          </a:r>
        </a:p>
      </dsp:txBody>
      <dsp:txXfrm>
        <a:off x="3909015" y="1407591"/>
        <a:ext cx="1822495" cy="864482"/>
      </dsp:txXfrm>
    </dsp:sp>
    <dsp:sp modelId="{FF91BB56-2C26-4665-98AF-93AEF8C2E353}">
      <dsp:nvSpPr>
        <dsp:cNvPr id="0" name=""/>
        <dsp:cNvSpPr/>
      </dsp:nvSpPr>
      <dsp:spPr>
        <a:xfrm>
          <a:off x="618064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테마별</a:t>
          </a: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 </a:t>
          </a:r>
          <a:r>
            <a:rPr lang="ko-KR" altLang="en-US" sz="2000" kern="1200" dirty="0" err="1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  <a:endParaRPr lang="ko-KR" altLang="en-US" sz="2000" kern="1200" dirty="0">
            <a:latin typeface="배달의민족 도현" panose="020B0600000101010101" pitchFamily="50" charset="-127"/>
            <a:ea typeface="배달의민족 도현" panose="020B0600000101010101" pitchFamily="50" charset="-127"/>
          </a:endParaRPr>
        </a:p>
      </dsp:txBody>
      <dsp:txXfrm>
        <a:off x="6227405" y="1407591"/>
        <a:ext cx="1822495" cy="864482"/>
      </dsp:txXfrm>
    </dsp:sp>
    <dsp:sp modelId="{AA99C2C6-EE03-4377-B96E-0651630D362D}">
      <dsp:nvSpPr>
        <dsp:cNvPr id="0" name=""/>
        <dsp:cNvSpPr/>
      </dsp:nvSpPr>
      <dsp:spPr>
        <a:xfrm>
          <a:off x="8499030" y="1360826"/>
          <a:ext cx="1916025" cy="95801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등록</a:t>
          </a:r>
        </a:p>
      </dsp:txBody>
      <dsp:txXfrm>
        <a:off x="8545795" y="1407591"/>
        <a:ext cx="1822495" cy="8644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0FC512-D96A-4DCB-A463-1B4C63456F9B}">
      <dsp:nvSpPr>
        <dsp:cNvPr id="0" name=""/>
        <dsp:cNvSpPr/>
      </dsp:nvSpPr>
      <dsp:spPr>
        <a:xfrm>
          <a:off x="5486400" y="2266938"/>
          <a:ext cx="4546170" cy="394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251"/>
              </a:lnTo>
              <a:lnTo>
                <a:pt x="4546170" y="197251"/>
              </a:lnTo>
              <a:lnTo>
                <a:pt x="454617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B13F59-E888-480C-9F38-5686D677B547}">
      <dsp:nvSpPr>
        <dsp:cNvPr id="0" name=""/>
        <dsp:cNvSpPr/>
      </dsp:nvSpPr>
      <dsp:spPr>
        <a:xfrm>
          <a:off x="5486400" y="2266938"/>
          <a:ext cx="2273085" cy="394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7251"/>
              </a:lnTo>
              <a:lnTo>
                <a:pt x="2273085" y="197251"/>
              </a:lnTo>
              <a:lnTo>
                <a:pt x="2273085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0DE177-8222-4D71-AF4F-1405C3F6732D}">
      <dsp:nvSpPr>
        <dsp:cNvPr id="0" name=""/>
        <dsp:cNvSpPr/>
      </dsp:nvSpPr>
      <dsp:spPr>
        <a:xfrm>
          <a:off x="5440680" y="2266938"/>
          <a:ext cx="91440" cy="39450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339683-FD12-45C2-A60E-5808D8CB10E9}">
      <dsp:nvSpPr>
        <dsp:cNvPr id="0" name=""/>
        <dsp:cNvSpPr/>
      </dsp:nvSpPr>
      <dsp:spPr>
        <a:xfrm>
          <a:off x="3213314" y="2266938"/>
          <a:ext cx="2273085" cy="394502"/>
        </a:xfrm>
        <a:custGeom>
          <a:avLst/>
          <a:gdLst/>
          <a:ahLst/>
          <a:cxnLst/>
          <a:rect l="0" t="0" r="0" b="0"/>
          <a:pathLst>
            <a:path>
              <a:moveTo>
                <a:pt x="2273085" y="0"/>
              </a:moveTo>
              <a:lnTo>
                <a:pt x="2273085" y="197251"/>
              </a:lnTo>
              <a:lnTo>
                <a:pt x="0" y="197251"/>
              </a:lnTo>
              <a:lnTo>
                <a:pt x="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D8EE3F-98CE-4FD2-8D73-EFFEB2BDF228}">
      <dsp:nvSpPr>
        <dsp:cNvPr id="0" name=""/>
        <dsp:cNvSpPr/>
      </dsp:nvSpPr>
      <dsp:spPr>
        <a:xfrm>
          <a:off x="940229" y="2266938"/>
          <a:ext cx="4546170" cy="394502"/>
        </a:xfrm>
        <a:custGeom>
          <a:avLst/>
          <a:gdLst/>
          <a:ahLst/>
          <a:cxnLst/>
          <a:rect l="0" t="0" r="0" b="0"/>
          <a:pathLst>
            <a:path>
              <a:moveTo>
                <a:pt x="4546170" y="0"/>
              </a:moveTo>
              <a:lnTo>
                <a:pt x="4546170" y="197251"/>
              </a:lnTo>
              <a:lnTo>
                <a:pt x="0" y="197251"/>
              </a:lnTo>
              <a:lnTo>
                <a:pt x="0" y="394502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4547108" y="1327646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마이 페이지</a:t>
          </a:r>
        </a:p>
      </dsp:txBody>
      <dsp:txXfrm>
        <a:off x="4592959" y="1373497"/>
        <a:ext cx="1786881" cy="847589"/>
      </dsp:txXfrm>
    </dsp:sp>
    <dsp:sp modelId="{1667C80E-7435-4C84-BFF5-5C8DEA5A00FC}">
      <dsp:nvSpPr>
        <dsp:cNvPr id="0" name=""/>
        <dsp:cNvSpPr/>
      </dsp:nvSpPr>
      <dsp:spPr>
        <a:xfrm>
          <a:off x="937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회원 정보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조회</a:t>
          </a:r>
        </a:p>
      </dsp:txBody>
      <dsp:txXfrm>
        <a:off x="46788" y="2707291"/>
        <a:ext cx="1786881" cy="847589"/>
      </dsp:txXfrm>
    </dsp:sp>
    <dsp:sp modelId="{5E201424-3083-4AFD-ACAC-0FC29AAAB78B}">
      <dsp:nvSpPr>
        <dsp:cNvPr id="0" name=""/>
        <dsp:cNvSpPr/>
      </dsp:nvSpPr>
      <dsp:spPr>
        <a:xfrm>
          <a:off x="2274023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등급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/</a:t>
          </a: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포인트</a:t>
          </a:r>
        </a:p>
      </dsp:txBody>
      <dsp:txXfrm>
        <a:off x="2319874" y="2707291"/>
        <a:ext cx="1786881" cy="847589"/>
      </dsp:txXfrm>
    </dsp:sp>
    <dsp:sp modelId="{FF91BB56-2C26-4665-98AF-93AEF8C2E353}">
      <dsp:nvSpPr>
        <dsp:cNvPr id="0" name=""/>
        <dsp:cNvSpPr/>
      </dsp:nvSpPr>
      <dsp:spPr>
        <a:xfrm>
          <a:off x="4547108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즐겨 찾는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</a:t>
          </a:r>
        </a:p>
      </dsp:txBody>
      <dsp:txXfrm>
        <a:off x="4592959" y="2707291"/>
        <a:ext cx="1786881" cy="847589"/>
      </dsp:txXfrm>
    </dsp:sp>
    <dsp:sp modelId="{AA99C2C6-EE03-4377-B96E-0651630D362D}">
      <dsp:nvSpPr>
        <dsp:cNvPr id="0" name=""/>
        <dsp:cNvSpPr/>
      </dsp:nvSpPr>
      <dsp:spPr>
        <a:xfrm>
          <a:off x="6820193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월 별 식단</a:t>
          </a:r>
          <a: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관리</a:t>
          </a:r>
        </a:p>
      </dsp:txBody>
      <dsp:txXfrm>
        <a:off x="6866044" y="2707291"/>
        <a:ext cx="1786881" cy="847589"/>
      </dsp:txXfrm>
    </dsp:sp>
    <dsp:sp modelId="{1A0ACED6-AC5A-42BE-B4C7-E6AF4B818FDD}">
      <dsp:nvSpPr>
        <dsp:cNvPr id="0" name=""/>
        <dsp:cNvSpPr/>
      </dsp:nvSpPr>
      <dsp:spPr>
        <a:xfrm>
          <a:off x="9093279" y="2661440"/>
          <a:ext cx="1878583" cy="939291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칼로리계산기</a:t>
          </a:r>
        </a:p>
      </dsp:txBody>
      <dsp:txXfrm>
        <a:off x="9139130" y="2707291"/>
        <a:ext cx="1786881" cy="8475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EE34BF-E26C-4D32-B74A-BB1E81AA5D28}">
      <dsp:nvSpPr>
        <dsp:cNvPr id="0" name=""/>
        <dsp:cNvSpPr/>
      </dsp:nvSpPr>
      <dsp:spPr>
        <a:xfrm>
          <a:off x="4957850" y="2466833"/>
          <a:ext cx="3883018" cy="44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4637"/>
              </a:lnTo>
              <a:lnTo>
                <a:pt x="3883018" y="224637"/>
              </a:lnTo>
              <a:lnTo>
                <a:pt x="3883018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FAF3C9-5540-43E9-AD60-6E9258AC8D19}">
      <dsp:nvSpPr>
        <dsp:cNvPr id="0" name=""/>
        <dsp:cNvSpPr/>
      </dsp:nvSpPr>
      <dsp:spPr>
        <a:xfrm>
          <a:off x="4957850" y="2466833"/>
          <a:ext cx="1294339" cy="449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4637"/>
              </a:lnTo>
              <a:lnTo>
                <a:pt x="1294339" y="224637"/>
              </a:lnTo>
              <a:lnTo>
                <a:pt x="1294339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0C7830-EF60-4BC2-BAFD-D25393C98F37}">
      <dsp:nvSpPr>
        <dsp:cNvPr id="0" name=""/>
        <dsp:cNvSpPr/>
      </dsp:nvSpPr>
      <dsp:spPr>
        <a:xfrm>
          <a:off x="3663510" y="2466833"/>
          <a:ext cx="1294339" cy="449274"/>
        </a:xfrm>
        <a:custGeom>
          <a:avLst/>
          <a:gdLst/>
          <a:ahLst/>
          <a:cxnLst/>
          <a:rect l="0" t="0" r="0" b="0"/>
          <a:pathLst>
            <a:path>
              <a:moveTo>
                <a:pt x="1294339" y="0"/>
              </a:moveTo>
              <a:lnTo>
                <a:pt x="1294339" y="224637"/>
              </a:lnTo>
              <a:lnTo>
                <a:pt x="0" y="224637"/>
              </a:lnTo>
              <a:lnTo>
                <a:pt x="0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ED239-4FFD-4792-B6AC-4F34BD184AF0}">
      <dsp:nvSpPr>
        <dsp:cNvPr id="0" name=""/>
        <dsp:cNvSpPr/>
      </dsp:nvSpPr>
      <dsp:spPr>
        <a:xfrm>
          <a:off x="1074831" y="2466833"/>
          <a:ext cx="3883018" cy="449274"/>
        </a:xfrm>
        <a:custGeom>
          <a:avLst/>
          <a:gdLst/>
          <a:ahLst/>
          <a:cxnLst/>
          <a:rect l="0" t="0" r="0" b="0"/>
          <a:pathLst>
            <a:path>
              <a:moveTo>
                <a:pt x="3883018" y="0"/>
              </a:moveTo>
              <a:lnTo>
                <a:pt x="3883018" y="224637"/>
              </a:lnTo>
              <a:lnTo>
                <a:pt x="0" y="224637"/>
              </a:lnTo>
              <a:lnTo>
                <a:pt x="0" y="449274"/>
              </a:lnTo>
            </a:path>
          </a:pathLst>
        </a:custGeom>
        <a:noFill/>
        <a:ln w="12700" cap="flat" cmpd="sng" algn="ctr">
          <a:solidFill>
            <a:srgbClr val="62577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CB0CEF-A543-4D48-86EE-C85A4B0C6E60}">
      <dsp:nvSpPr>
        <dsp:cNvPr id="0" name=""/>
        <dsp:cNvSpPr/>
      </dsp:nvSpPr>
      <dsp:spPr>
        <a:xfrm>
          <a:off x="3888147" y="1397130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근처 맛집</a:t>
          </a:r>
        </a:p>
      </dsp:txBody>
      <dsp:txXfrm>
        <a:off x="3940365" y="1449348"/>
        <a:ext cx="2034968" cy="965266"/>
      </dsp:txXfrm>
    </dsp:sp>
    <dsp:sp modelId="{FEEE9DFE-2886-484E-906A-C5C1160E6BD1}">
      <dsp:nvSpPr>
        <dsp:cNvPr id="0" name=""/>
        <dsp:cNvSpPr/>
      </dsp:nvSpPr>
      <dsp:spPr>
        <a:xfrm>
          <a:off x="5129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레시피 관련 식당</a:t>
          </a:r>
        </a:p>
      </dsp:txBody>
      <dsp:txXfrm>
        <a:off x="57347" y="2968325"/>
        <a:ext cx="2034968" cy="965266"/>
      </dsp:txXfrm>
    </dsp:sp>
    <dsp:sp modelId="{5E201424-3083-4AFD-ACAC-0FC29AAAB78B}">
      <dsp:nvSpPr>
        <dsp:cNvPr id="0" name=""/>
        <dsp:cNvSpPr/>
      </dsp:nvSpPr>
      <dsp:spPr>
        <a:xfrm>
          <a:off x="2593808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위치 기반</a:t>
          </a:r>
          <a: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조회</a:t>
          </a:r>
        </a:p>
      </dsp:txBody>
      <dsp:txXfrm>
        <a:off x="2646026" y="2968325"/>
        <a:ext cx="2034968" cy="965266"/>
      </dsp:txXfrm>
    </dsp:sp>
    <dsp:sp modelId="{B5CACB56-ECE7-44CE-8274-BA4B7399DB2C}">
      <dsp:nvSpPr>
        <dsp:cNvPr id="0" name=""/>
        <dsp:cNvSpPr/>
      </dsp:nvSpPr>
      <dsp:spPr>
        <a:xfrm>
          <a:off x="5182487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날씨 기반</a:t>
          </a:r>
          <a: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/>
          </a:r>
          <a:br>
            <a:rPr lang="en-US" altLang="ko-KR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</a:b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추천 식당</a:t>
          </a:r>
        </a:p>
      </dsp:txBody>
      <dsp:txXfrm>
        <a:off x="5234705" y="2968325"/>
        <a:ext cx="2034968" cy="965266"/>
      </dsp:txXfrm>
    </dsp:sp>
    <dsp:sp modelId="{FF91BB56-2C26-4665-98AF-93AEF8C2E353}">
      <dsp:nvSpPr>
        <dsp:cNvPr id="0" name=""/>
        <dsp:cNvSpPr/>
      </dsp:nvSpPr>
      <dsp:spPr>
        <a:xfrm>
          <a:off x="7771166" y="2916107"/>
          <a:ext cx="2139404" cy="1069702"/>
        </a:xfrm>
        <a:prstGeom prst="flowChartAlternateProcess">
          <a:avLst/>
        </a:prstGeom>
        <a:solidFill>
          <a:srgbClr val="62577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0" kern="1200" dirty="0">
              <a:latin typeface="배달의민족 도현" panose="020B0600000101010101" pitchFamily="50" charset="-127"/>
              <a:ea typeface="배달의민족 도현" panose="020B0600000101010101" pitchFamily="50" charset="-127"/>
            </a:rPr>
            <a:t>식당 후기</a:t>
          </a:r>
        </a:p>
      </dsp:txBody>
      <dsp:txXfrm>
        <a:off x="7823384" y="2968325"/>
        <a:ext cx="2034968" cy="9652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9FDAAF-9E98-4861-809D-ED552EEC0877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491628-F8C1-4213-93B4-9FFB4FF7318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29594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시스템</a:t>
            </a:r>
            <a:r>
              <a:rPr lang="ko-KR" altLang="en-US" baseline="0" dirty="0"/>
              <a:t> 전체 구조</a:t>
            </a:r>
            <a:r>
              <a:rPr lang="en-US" altLang="ko-KR" baseline="0" dirty="0"/>
              <a:t>, 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D6F27B-BEC5-48CD-A20D-8225DA571890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34630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2048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2270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02069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93627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4399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7568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2283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82593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41715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3383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64622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36C277-3CD9-499E-96A3-4D273827CCC0}" type="datetimeFigureOut">
              <a:rPr lang="ko-KR" altLang="en-US" smtClean="0"/>
              <a:t>2020-01-0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6289B9-EBA5-455C-B04C-0DE1098C85D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75771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2bob.co.kr/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26" Type="http://schemas.openxmlformats.org/officeDocument/2006/relationships/image" Target="../media/image43.png"/><Relationship Id="rId3" Type="http://schemas.openxmlformats.org/officeDocument/2006/relationships/image" Target="../media/image20.pn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5" Type="http://schemas.openxmlformats.org/officeDocument/2006/relationships/image" Target="../media/image42.png"/><Relationship Id="rId33" Type="http://schemas.openxmlformats.org/officeDocument/2006/relationships/image" Target="../media/image10.pn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20" Type="http://schemas.openxmlformats.org/officeDocument/2006/relationships/image" Target="../media/image37.png"/><Relationship Id="rId29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41.png"/><Relationship Id="rId32" Type="http://schemas.openxmlformats.org/officeDocument/2006/relationships/image" Target="../media/image49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23" Type="http://schemas.openxmlformats.org/officeDocument/2006/relationships/image" Target="../media/image40.png"/><Relationship Id="rId28" Type="http://schemas.openxmlformats.org/officeDocument/2006/relationships/image" Target="../media/image45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31" Type="http://schemas.openxmlformats.org/officeDocument/2006/relationships/image" Target="../media/image48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Relationship Id="rId22" Type="http://schemas.openxmlformats.org/officeDocument/2006/relationships/image" Target="../media/image39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7.pn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082" y="0"/>
            <a:ext cx="6724650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162453" y="5085386"/>
            <a:ext cx="268855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조장 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: 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이영주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pPr algn="ctr"/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       김민정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, 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성민재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pPr algn="ctr"/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        </a:t>
            </a:r>
            <a:r>
              <a:rPr lang="ko-KR" altLang="en-US" sz="2000" b="1" dirty="0" err="1">
                <a:solidFill>
                  <a:srgbClr val="625772"/>
                </a:solidFill>
                <a:ea typeface="배달의민족 도현" panose="020B0600000101010101"/>
              </a:rPr>
              <a:t>심재민</a:t>
            </a:r>
            <a:r>
              <a:rPr lang="en-US" altLang="ko-KR" sz="2000" b="1" dirty="0">
                <a:solidFill>
                  <a:srgbClr val="625772"/>
                </a:solidFill>
                <a:ea typeface="배달의민족 도현" panose="020B0600000101010101"/>
              </a:rPr>
              <a:t>, </a:t>
            </a:r>
            <a:r>
              <a:rPr lang="ko-KR" altLang="en-US" sz="2000" b="1" dirty="0" err="1">
                <a:solidFill>
                  <a:srgbClr val="625772"/>
                </a:solidFill>
                <a:ea typeface="배달의민족 도현" panose="020B0600000101010101"/>
              </a:rPr>
              <a:t>윤소윤</a:t>
            </a:r>
            <a:r>
              <a:rPr lang="ko-KR" altLang="en-US" sz="2000" b="1" dirty="0">
                <a:solidFill>
                  <a:srgbClr val="625772"/>
                </a:solidFill>
                <a:ea typeface="배달의민족 도현" panose="020B0600000101010101"/>
              </a:rPr>
              <a:t> </a:t>
            </a:r>
            <a:endParaRPr lang="en-US" altLang="ko-KR" sz="2000" b="1" dirty="0">
              <a:solidFill>
                <a:srgbClr val="625772"/>
              </a:solidFill>
              <a:ea typeface="배달의민족 도현" panose="020B0600000101010101"/>
            </a:endParaRPr>
          </a:p>
          <a:p>
            <a:endParaRPr lang="ko-KR" altLang="en-US" dirty="0">
              <a:solidFill>
                <a:srgbClr val="62577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83422" y="138260"/>
            <a:ext cx="5108578" cy="420564"/>
          </a:xfrm>
          <a:prstGeom prst="rect">
            <a:avLst/>
          </a:prstGeom>
          <a:solidFill>
            <a:srgbClr val="625772"/>
          </a:solidFill>
        </p:spPr>
        <p:txBody>
          <a:bodyPr wrap="none" rtlCol="0">
            <a:spAutoFit/>
          </a:bodyPr>
          <a:lstStyle/>
          <a:p>
            <a:r>
              <a:rPr lang="en-US" altLang="ko-KR" sz="1867" dirty="0">
                <a:solidFill>
                  <a:schemeClr val="bg1">
                    <a:lumMod val="95000"/>
                  </a:schemeClr>
                </a:solidFill>
                <a:latin typeface="배달의민족 도현" pitchFamily="50" charset="-127"/>
                <a:ea typeface="배달의민족 도현" pitchFamily="50" charset="-127"/>
              </a:rPr>
              <a:t>HTML5, Spring MVC Based </a:t>
            </a:r>
            <a:r>
              <a:rPr lang="en-US" altLang="ko-KR" sz="2133" dirty="0">
                <a:solidFill>
                  <a:schemeClr val="bg1">
                    <a:lumMod val="95000"/>
                  </a:schemeClr>
                </a:solidFill>
                <a:latin typeface="배달의민족 도현" pitchFamily="50" charset="-127"/>
                <a:ea typeface="배달의민족 도현" pitchFamily="50" charset="-127"/>
              </a:rPr>
              <a:t>Web Project</a:t>
            </a:r>
            <a:endParaRPr lang="ko-KR" altLang="en-US" sz="1867" dirty="0">
              <a:solidFill>
                <a:schemeClr val="bg1">
                  <a:lumMod val="95000"/>
                </a:schemeClr>
              </a:solidFill>
              <a:latin typeface="배달의민족 도현" pitchFamily="50" charset="-127"/>
              <a:ea typeface="배달의민족 도현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3196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10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xmlns="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6787901"/>
              </p:ext>
            </p:extLst>
          </p:nvPr>
        </p:nvGraphicFramePr>
        <p:xfrm>
          <a:off x="609600" y="530957"/>
          <a:ext cx="10972800" cy="49283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E41563C-0D75-4056-8973-799882DC7D8E}"/>
              </a:ext>
            </a:extLst>
          </p:cNvPr>
          <p:cNvSpPr txBox="1"/>
          <p:nvPr/>
        </p:nvSpPr>
        <p:spPr>
          <a:xfrm>
            <a:off x="623393" y="4389107"/>
            <a:ext cx="23042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정보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정보 수정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회원 탈퇴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830CB48-DEFC-441E-A524-4B22B9EA2A2A}"/>
              </a:ext>
            </a:extLst>
          </p:cNvPr>
          <p:cNvSpPr txBox="1"/>
          <p:nvPr/>
        </p:nvSpPr>
        <p:spPr>
          <a:xfrm>
            <a:off x="2831638" y="4389107"/>
            <a:ext cx="230425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등급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포인트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적립금 전환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EB89211-FC24-4DF7-9893-E6B5F7BE79C6}"/>
              </a:ext>
            </a:extLst>
          </p:cNvPr>
          <p:cNvSpPr txBox="1"/>
          <p:nvPr/>
        </p:nvSpPr>
        <p:spPr>
          <a:xfrm>
            <a:off x="7344139" y="4383879"/>
            <a:ext cx="24824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월 별 식단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식단 추가 기능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오늘 먹은 음식 관리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3E71AA0-55EE-4ED0-BC53-2EC2A615591C}"/>
              </a:ext>
            </a:extLst>
          </p:cNvPr>
          <p:cNvSpPr txBox="1"/>
          <p:nvPr/>
        </p:nvSpPr>
        <p:spPr>
          <a:xfrm>
            <a:off x="9653776" y="4383879"/>
            <a:ext cx="2538224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먹은 음식을 통해</a:t>
            </a:r>
            <a:r>
              <a:rPr lang="en-US" altLang="ko-KR" sz="1600" spc="-150" dirty="0">
                <a:solidFill>
                  <a:prstClr val="black"/>
                </a:solidFill>
                <a:latin typeface="+mn-ea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+mn-ea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칼로리 계산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+mn-ea"/>
              </a:rPr>
              <a:t>기초대사량과</a:t>
            </a: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 비교해</a:t>
            </a:r>
            <a:r>
              <a:rPr lang="en-US" altLang="ko-KR" sz="1600" spc="-150" dirty="0">
                <a:solidFill>
                  <a:prstClr val="black"/>
                </a:solidFill>
                <a:latin typeface="+mn-ea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+mn-ea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필요 운동량 계산 기능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15F6DFD4-8D35-4075-A528-571927ADC4A6}"/>
              </a:ext>
            </a:extLst>
          </p:cNvPr>
          <p:cNvSpPr txBox="1"/>
          <p:nvPr/>
        </p:nvSpPr>
        <p:spPr>
          <a:xfrm>
            <a:off x="4847861" y="4389107"/>
            <a:ext cx="2538224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+mn-ea"/>
              </a:rPr>
              <a:t>좋아요 한 레시피 조회</a:t>
            </a:r>
            <a:endParaRPr lang="en-US" altLang="ko-KR" sz="1600" spc="-150" dirty="0">
              <a:solidFill>
                <a:prstClr val="black"/>
              </a:solidFill>
              <a:latin typeface="+mn-ea"/>
            </a:endParaRPr>
          </a:p>
        </p:txBody>
      </p:sp>
      <p:sp>
        <p:nvSpPr>
          <p:cNvPr id="11" name="모서리가 둥근 직사각형 5">
            <a:extLst>
              <a:ext uri="{FF2B5EF4-FFF2-40B4-BE49-F238E27FC236}">
                <a16:creationId xmlns:a16="http://schemas.microsoft.com/office/drawing/2014/main" xmlns="" id="{F69D1E2B-A9CC-4888-8B9E-7BA29AD120EE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xmlns="" id="{E963D9AD-DF16-4AD5-8A9E-AD0DBDE405DC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1D9C1CF-7A69-4A7F-87F2-37CD852AECDC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xmlns="" id="{BEFA27FA-864D-44E2-AE24-5FB082E5377B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67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11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xmlns="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7828762"/>
              </p:ext>
            </p:extLst>
          </p:nvPr>
        </p:nvGraphicFramePr>
        <p:xfrm>
          <a:off x="1103446" y="136524"/>
          <a:ext cx="9915700" cy="5382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8C91DF98-D29C-4C26-A0D7-845F83C91EEC}"/>
              </a:ext>
            </a:extLst>
          </p:cNvPr>
          <p:cNvSpPr txBox="1"/>
          <p:nvPr/>
        </p:nvSpPr>
        <p:spPr>
          <a:xfrm>
            <a:off x="993643" y="4315304"/>
            <a:ext cx="28326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먹기 귀찮아요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버튼을 통해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메뉴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근처 식당 조회 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0BF9AF7-9F60-4342-83B7-C1080548A997}"/>
              </a:ext>
            </a:extLst>
          </p:cNvPr>
          <p:cNvSpPr txBox="1"/>
          <p:nvPr/>
        </p:nvSpPr>
        <p:spPr>
          <a:xfrm>
            <a:off x="8879538" y="4315304"/>
            <a:ext cx="283265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들이 식당에 대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후기 작성 가능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2254AC6-DC69-467D-90DD-07934B3029F8}"/>
              </a:ext>
            </a:extLst>
          </p:cNvPr>
          <p:cNvSpPr txBox="1"/>
          <p:nvPr/>
        </p:nvSpPr>
        <p:spPr>
          <a:xfrm>
            <a:off x="3638547" y="4315304"/>
            <a:ext cx="283265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현재 위치 기반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범 식당 리스트 제공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B455788-08FD-4E3B-8F0A-68F5C3E7E018}"/>
              </a:ext>
            </a:extLst>
          </p:cNvPr>
          <p:cNvSpPr txBox="1"/>
          <p:nvPr/>
        </p:nvSpPr>
        <p:spPr>
          <a:xfrm>
            <a:off x="6283450" y="4315304"/>
            <a:ext cx="28326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테마별</a:t>
            </a: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레시피에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날씨추천 레시피 관련</a:t>
            </a:r>
            <a: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당 추천</a:t>
            </a:r>
            <a:endParaRPr lang="en-US" altLang="ko-KR" sz="1600" spc="-15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" name="모서리가 둥근 직사각형 5">
            <a:extLst>
              <a:ext uri="{FF2B5EF4-FFF2-40B4-BE49-F238E27FC236}">
                <a16:creationId xmlns:a16="http://schemas.microsoft.com/office/drawing/2014/main" xmlns="" id="{94777C40-B7A4-4613-887B-B5B1147A92C3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3" name="타원형 설명선 7">
            <a:extLst>
              <a:ext uri="{FF2B5EF4-FFF2-40B4-BE49-F238E27FC236}">
                <a16:creationId xmlns:a16="http://schemas.microsoft.com/office/drawing/2014/main" xmlns="" id="{E94E12A6-5106-45F3-882A-07D98CD2B67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D868252-5427-4CE1-98FF-5AB20D25D41B}"/>
              </a:ext>
            </a:extLst>
          </p:cNvPr>
          <p:cNvSpPr txBox="1"/>
          <p:nvPr/>
        </p:nvSpPr>
        <p:spPr>
          <a:xfrm>
            <a:off x="96814" y="199529"/>
            <a:ext cx="7922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600" b="1" dirty="0">
                <a:solidFill>
                  <a:schemeClr val="bg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03</a:t>
            </a:r>
            <a:endParaRPr lang="ko-KR" altLang="en-US" sz="3600" b="1" dirty="0">
              <a:solidFill>
                <a:schemeClr val="bg1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15" name="제목 3">
            <a:extLst>
              <a:ext uri="{FF2B5EF4-FFF2-40B4-BE49-F238E27FC236}">
                <a16:creationId xmlns:a16="http://schemas.microsoft.com/office/drawing/2014/main" xmlns="" id="{CB8E6B75-31C3-4D78-A1EA-3635098559F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4771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224367" y="1409594"/>
            <a:ext cx="11735985" cy="5128366"/>
          </a:xfrm>
          <a:prstGeom prst="rect">
            <a:avLst/>
          </a:prstGeom>
          <a:solidFill>
            <a:schemeClr val="tx1">
              <a:lumMod val="65000"/>
              <a:lumOff val="3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7200" dirty="0">
              <a:solidFill>
                <a:prstClr val="white"/>
              </a:solidFill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992452" y="200763"/>
            <a:ext cx="8587368" cy="1143000"/>
          </a:xfrm>
        </p:spPr>
        <p:txBody>
          <a:bodyPr>
            <a:normAutofit/>
          </a:bodyPr>
          <a:lstStyle/>
          <a:p>
            <a:pPr algn="l"/>
            <a:r>
              <a:rPr lang="ko-KR" altLang="en-US" sz="373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패키지 구성</a:t>
            </a:r>
            <a:endParaRPr lang="ko-KR" altLang="en-US" sz="3730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8035" y="68816"/>
            <a:ext cx="83869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400" b="1" smtClea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4</a:t>
            </a:r>
            <a:endParaRPr lang="ko-KR" altLang="en-US" sz="4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054" r="-412"/>
          <a:stretch/>
        </p:blipFill>
        <p:spPr>
          <a:xfrm>
            <a:off x="6236212" y="1618108"/>
            <a:ext cx="5691315" cy="4719803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120"/>
          <a:stretch/>
        </p:blipFill>
        <p:spPr>
          <a:xfrm>
            <a:off x="321851" y="1618108"/>
            <a:ext cx="5666400" cy="4691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68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모서리가 둥근 직사각형 5">
            <a:extLst>
              <a:ext uri="{FF2B5EF4-FFF2-40B4-BE49-F238E27FC236}">
                <a16:creationId xmlns:a16="http://schemas.microsoft.com/office/drawing/2014/main" xmlns="" id="{BD6DF93B-381E-430F-97C9-B802C845A105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6775449" y="5296015"/>
            <a:ext cx="2844800" cy="365125"/>
          </a:xfrm>
        </p:spPr>
        <p:txBody>
          <a:bodyPr/>
          <a:lstStyle/>
          <a:p>
            <a:fld id="{BCF18117-6328-4BF6-B483-3F8355306CA5}" type="slidenum">
              <a:rPr lang="ko-KR" altLang="en-US" smtClean="0"/>
              <a:pPr/>
              <a:t>13</a:t>
            </a:fld>
            <a:endParaRPr lang="ko-KR" altLang="en-US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993641" y="316443"/>
            <a:ext cx="10382944" cy="1143000"/>
          </a:xfrm>
        </p:spPr>
        <p:txBody>
          <a:bodyPr>
            <a:normAutofit/>
          </a:bodyPr>
          <a:lstStyle/>
          <a:p>
            <a:pPr algn="l"/>
            <a:r>
              <a:rPr lang="ko-KR" altLang="en-US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기능 구현 </a:t>
            </a:r>
            <a:r>
              <a:rPr lang="en-US" altLang="ko-KR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- API(</a:t>
            </a:r>
            <a:r>
              <a:rPr lang="en-US" altLang="ko-KR" sz="373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DB Table</a:t>
            </a:r>
            <a:r>
              <a:rPr lang="en-US" altLang="ko-KR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)</a:t>
            </a:r>
            <a:endParaRPr lang="ko-KR" altLang="en-US" sz="3730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48682" y="68627"/>
            <a:ext cx="8899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0" name="AutoShape 2" descr="https://encrypted-tbn3.gstatic.com/images?q=tbn:ANd9GcSiVAqmsMZCSadOm3Egb6-XokFYcc4-INKGr-_nVUMotP6AnhWirA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52" name="AutoShape 4" descr="https://encrypted-tbn3.gstatic.com/images?q=tbn:ANd9GcSiVAqmsMZCSadOm3Egb6-XokFYcc4-INKGr-_nVUMotP6AnhWirA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11" name="자유형 3">
            <a:extLst>
              <a:ext uri="{FF2B5EF4-FFF2-40B4-BE49-F238E27FC236}">
                <a16:creationId xmlns:a16="http://schemas.microsoft.com/office/drawing/2014/main" xmlns="" id="{93045213-D08F-4B4A-A0F9-ABDB68DB04BE}"/>
              </a:ext>
            </a:extLst>
          </p:cNvPr>
          <p:cNvSpPr/>
          <p:nvPr/>
        </p:nvSpPr>
        <p:spPr>
          <a:xfrm flipH="1">
            <a:off x="745145" y="1340590"/>
            <a:ext cx="4522289" cy="193010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xmlns="" id="{3B77D871-3036-4099-81D2-C6725B2997B4}"/>
              </a:ext>
            </a:extLst>
          </p:cNvPr>
          <p:cNvSpPr/>
          <p:nvPr/>
        </p:nvSpPr>
        <p:spPr>
          <a:xfrm>
            <a:off x="998040" y="1332849"/>
            <a:ext cx="4241800" cy="1899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ko-KR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cipe</a:t>
            </a: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국 맛집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(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품의약품안전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해 음식점 정보 제공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만개의 레시피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달의 음식 레시피 등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다양한 레시피 제공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튜브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관련 동영상 첨부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xmlns="" id="{6B8E1FC0-0C26-413C-86A4-71228EFB23A9}"/>
              </a:ext>
            </a:extLst>
          </p:cNvPr>
          <p:cNvSpPr/>
          <p:nvPr/>
        </p:nvSpPr>
        <p:spPr>
          <a:xfrm>
            <a:off x="7435570" y="1297406"/>
            <a:ext cx="4027293" cy="2999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ko-KR" altLang="en-US" sz="2667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마이냉장고</a:t>
            </a:r>
            <a:endParaRPr lang="en-US" altLang="ko-KR" sz="2667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시지 전송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사용하여 메모해 놓은 내용을 핸드폰으로 전송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양청에서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정한 식품보관기간이나 </a:t>
            </a: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품별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유통기한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ata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정보 조회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>
              <a:lnSpc>
                <a:spcPct val="150000"/>
              </a:lnSpc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endParaRPr lang="en-US" altLang="ko-KR" sz="1600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xmlns="" id="{3E382CC5-0CAB-4EEA-A74C-98C453F216D5}"/>
              </a:ext>
            </a:extLst>
          </p:cNvPr>
          <p:cNvSpPr/>
          <p:nvPr/>
        </p:nvSpPr>
        <p:spPr>
          <a:xfrm>
            <a:off x="7125975" y="4659709"/>
            <a:ext cx="4929716" cy="12838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ko-KR" sz="2667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ypage</a:t>
            </a:r>
            <a:r>
              <a:rPr lang="en-US" altLang="ko-KR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sub</a:t>
            </a: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페이지에서 사용가능한 포인트 변환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 ex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문화상품권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304792" indent="-304792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챗봇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고객상담 기능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5" name="그림 7">
            <a:extLst>
              <a:ext uri="{FF2B5EF4-FFF2-40B4-BE49-F238E27FC236}">
                <a16:creationId xmlns:a16="http://schemas.microsoft.com/office/drawing/2014/main" xmlns="" id="{8D708C14-F9C9-4BD2-A01F-7C5EF2EB1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9" y="1868048"/>
            <a:ext cx="810683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그림 8">
            <a:extLst>
              <a:ext uri="{FF2B5EF4-FFF2-40B4-BE49-F238E27FC236}">
                <a16:creationId xmlns:a16="http://schemas.microsoft.com/office/drawing/2014/main" xmlns="" id="{14D70D97-6E19-4C90-8984-851B99D5F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7" y="6106421"/>
            <a:ext cx="694888" cy="69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그림 9">
            <a:extLst>
              <a:ext uri="{FF2B5EF4-FFF2-40B4-BE49-F238E27FC236}">
                <a16:creationId xmlns:a16="http://schemas.microsoft.com/office/drawing/2014/main" xmlns="" id="{86FED587-B1FC-4962-9FF6-09A6CAD90F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1509" y="4471551"/>
            <a:ext cx="812800" cy="810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그림 10">
            <a:extLst>
              <a:ext uri="{FF2B5EF4-FFF2-40B4-BE49-F238E27FC236}">
                <a16:creationId xmlns:a16="http://schemas.microsoft.com/office/drawing/2014/main" xmlns="" id="{2CF626C9-F8CE-47BF-8F4D-9149DE03AD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5862" y="1264035"/>
            <a:ext cx="837109" cy="83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xmlns="" id="{CDDD29B5-36C9-41BF-BC9E-4068594CD056}"/>
              </a:ext>
            </a:extLst>
          </p:cNvPr>
          <p:cNvSpPr/>
          <p:nvPr/>
        </p:nvSpPr>
        <p:spPr>
          <a:xfrm>
            <a:off x="518675" y="4817207"/>
            <a:ext cx="4944533" cy="159152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ko-KR" altLang="en-US" sz="2667" b="1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식당</a:t>
            </a:r>
            <a:endParaRPr lang="en-US" altLang="ko-KR" sz="2667" b="1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도 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하여 주변 식당 검색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57189" indent="-457189">
              <a:lnSpc>
                <a:spcPct val="150000"/>
              </a:lnSpc>
              <a:buFontTx/>
              <a:buAutoNum type="arabicPeriod"/>
              <a:defRPr/>
            </a:pP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상청 동네예보정보조회</a:t>
            </a:r>
            <a:r>
              <a:rPr lang="en-US" altLang="ko-KR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DB)</a:t>
            </a:r>
            <a:r>
              <a:rPr lang="ko-KR" altLang="en-US" sz="1333" dirty="0">
                <a:solidFill>
                  <a:prstClr val="black">
                    <a:lumMod val="85000"/>
                    <a:lumOff val="1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활용해 날씨에 따른 메뉴 추천</a:t>
            </a:r>
            <a:endParaRPr lang="en-US" altLang="ko-KR" sz="1333" dirty="0">
              <a:solidFill>
                <a:prstClr val="black">
                  <a:lumMod val="85000"/>
                  <a:lumOff val="15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xmlns="" id="{651943E2-083F-45DF-B84D-E3D9B00CB8A8}"/>
              </a:ext>
            </a:extLst>
          </p:cNvPr>
          <p:cNvCxnSpPr>
            <a:cxnSpLocks/>
          </p:cNvCxnSpPr>
          <p:nvPr/>
        </p:nvCxnSpPr>
        <p:spPr>
          <a:xfrm flipV="1">
            <a:off x="5267433" y="3035474"/>
            <a:ext cx="1844144" cy="1770300"/>
          </a:xfrm>
          <a:prstGeom prst="line">
            <a:avLst/>
          </a:prstGeom>
          <a:ln>
            <a:solidFill>
              <a:srgbClr val="2D27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>
            <a:extLst>
              <a:ext uri="{FF2B5EF4-FFF2-40B4-BE49-F238E27FC236}">
                <a16:creationId xmlns:a16="http://schemas.microsoft.com/office/drawing/2014/main" xmlns="" id="{EC339CD2-C2DE-4DAC-8664-9D4F661C59B9}"/>
              </a:ext>
            </a:extLst>
          </p:cNvPr>
          <p:cNvCxnSpPr>
            <a:cxnSpLocks/>
          </p:cNvCxnSpPr>
          <p:nvPr/>
        </p:nvCxnSpPr>
        <p:spPr>
          <a:xfrm>
            <a:off x="5193374" y="3075016"/>
            <a:ext cx="1821260" cy="1812861"/>
          </a:xfrm>
          <a:prstGeom prst="line">
            <a:avLst/>
          </a:prstGeom>
          <a:ln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직사각형 14">
            <a:extLst>
              <a:ext uri="{FF2B5EF4-FFF2-40B4-BE49-F238E27FC236}">
                <a16:creationId xmlns:a16="http://schemas.microsoft.com/office/drawing/2014/main" xmlns="" id="{DC10179D-0F52-4845-943D-78560EAA2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5534" y="3628082"/>
            <a:ext cx="1540933" cy="584775"/>
          </a:xfrm>
          <a:prstGeom prst="rect">
            <a:avLst/>
          </a:prstGeom>
          <a:solidFill>
            <a:srgbClr val="625772"/>
          </a:solidFill>
          <a:ln w="28575">
            <a:solidFill>
              <a:srgbClr val="62577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굴림" panose="020B0600000101010101" pitchFamily="50" charset="-127"/>
              </a:defRPr>
            </a:lvl9pPr>
          </a:lstStyle>
          <a:p>
            <a:pPr algn="ctr" eaLnBrk="1" latinLnBrk="1" hangingPunct="1"/>
            <a:r>
              <a:rPr kumimoji="0" lang="en-US" altLang="ko-KR" sz="3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I</a:t>
            </a:r>
            <a:endParaRPr kumimoji="0" lang="ko-KR" altLang="en-US" sz="32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자유형 15">
            <a:extLst>
              <a:ext uri="{FF2B5EF4-FFF2-40B4-BE49-F238E27FC236}">
                <a16:creationId xmlns:a16="http://schemas.microsoft.com/office/drawing/2014/main" xmlns="" id="{21A46B54-933E-4F23-8B60-827BE52DE4D2}"/>
              </a:ext>
            </a:extLst>
          </p:cNvPr>
          <p:cNvSpPr/>
          <p:nvPr/>
        </p:nvSpPr>
        <p:spPr>
          <a:xfrm flipH="1">
            <a:off x="400429" y="4708682"/>
            <a:ext cx="4999567" cy="181286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4" name="자유형 16">
            <a:extLst>
              <a:ext uri="{FF2B5EF4-FFF2-40B4-BE49-F238E27FC236}">
                <a16:creationId xmlns:a16="http://schemas.microsoft.com/office/drawing/2014/main" xmlns="" id="{779F2C90-5B36-467B-9162-022DE79A3CDF}"/>
              </a:ext>
            </a:extLst>
          </p:cNvPr>
          <p:cNvSpPr/>
          <p:nvPr/>
        </p:nvSpPr>
        <p:spPr>
          <a:xfrm rot="10800000" flipH="1">
            <a:off x="6949433" y="4719261"/>
            <a:ext cx="4999567" cy="1794633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6257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5" name="자유형 17">
            <a:extLst>
              <a:ext uri="{FF2B5EF4-FFF2-40B4-BE49-F238E27FC236}">
                <a16:creationId xmlns:a16="http://schemas.microsoft.com/office/drawing/2014/main" xmlns="" id="{C37296AB-B496-46D5-92F0-36876DB2F0FD}"/>
              </a:ext>
            </a:extLst>
          </p:cNvPr>
          <p:cNvSpPr/>
          <p:nvPr/>
        </p:nvSpPr>
        <p:spPr>
          <a:xfrm rot="10800000" flipH="1">
            <a:off x="7069822" y="1353831"/>
            <a:ext cx="4597401" cy="2022475"/>
          </a:xfrm>
          <a:custGeom>
            <a:avLst/>
            <a:gdLst>
              <a:gd name="connsiteX0" fmla="*/ 281270 w 3581399"/>
              <a:gd name="connsiteY0" fmla="*/ 0 h 1295400"/>
              <a:gd name="connsiteX1" fmla="*/ 3581399 w 3581399"/>
              <a:gd name="connsiteY1" fmla="*/ 0 h 1295400"/>
              <a:gd name="connsiteX2" fmla="*/ 3581399 w 3581399"/>
              <a:gd name="connsiteY2" fmla="*/ 26174 h 1295400"/>
              <a:gd name="connsiteX3" fmla="*/ 293844 w 3581399"/>
              <a:gd name="connsiteY3" fmla="*/ 26174 h 1295400"/>
              <a:gd name="connsiteX4" fmla="*/ 24169 w 3581399"/>
              <a:gd name="connsiteY4" fmla="*/ 295849 h 1295400"/>
              <a:gd name="connsiteX5" fmla="*/ 24169 w 3581399"/>
              <a:gd name="connsiteY5" fmla="*/ 998499 h 1295400"/>
              <a:gd name="connsiteX6" fmla="*/ 293844 w 3581399"/>
              <a:gd name="connsiteY6" fmla="*/ 1268174 h 1295400"/>
              <a:gd name="connsiteX7" fmla="*/ 1066799 w 3581399"/>
              <a:gd name="connsiteY7" fmla="*/ 1268174 h 1295400"/>
              <a:gd name="connsiteX8" fmla="*/ 1066799 w 3581399"/>
              <a:gd name="connsiteY8" fmla="*/ 1295400 h 1295400"/>
              <a:gd name="connsiteX9" fmla="*/ 281270 w 3581399"/>
              <a:gd name="connsiteY9" fmla="*/ 1295400 h 1295400"/>
              <a:gd name="connsiteX10" fmla="*/ 0 w 3581399"/>
              <a:gd name="connsiteY10" fmla="*/ 1014130 h 1295400"/>
              <a:gd name="connsiteX11" fmla="*/ 0 w 3581399"/>
              <a:gd name="connsiteY11" fmla="*/ 281270 h 1295400"/>
              <a:gd name="connsiteX12" fmla="*/ 281270 w 3581399"/>
              <a:gd name="connsiteY12" fmla="*/ 0 h 129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81399" h="1295400">
                <a:moveTo>
                  <a:pt x="281270" y="0"/>
                </a:moveTo>
                <a:lnTo>
                  <a:pt x="3581399" y="0"/>
                </a:lnTo>
                <a:lnTo>
                  <a:pt x="3581399" y="26174"/>
                </a:lnTo>
                <a:lnTo>
                  <a:pt x="293844" y="26174"/>
                </a:lnTo>
                <a:cubicBezTo>
                  <a:pt x="144907" y="26174"/>
                  <a:pt x="24169" y="146912"/>
                  <a:pt x="24169" y="295849"/>
                </a:cubicBezTo>
                <a:lnTo>
                  <a:pt x="24169" y="998499"/>
                </a:lnTo>
                <a:cubicBezTo>
                  <a:pt x="24169" y="1147436"/>
                  <a:pt x="144907" y="1268174"/>
                  <a:pt x="293844" y="1268174"/>
                </a:cubicBezTo>
                <a:lnTo>
                  <a:pt x="1066799" y="1268174"/>
                </a:lnTo>
                <a:lnTo>
                  <a:pt x="1066799" y="1295400"/>
                </a:lnTo>
                <a:lnTo>
                  <a:pt x="281270" y="1295400"/>
                </a:lnTo>
                <a:cubicBezTo>
                  <a:pt x="125929" y="1295400"/>
                  <a:pt x="0" y="1169471"/>
                  <a:pt x="0" y="1014130"/>
                </a:cubicBezTo>
                <a:lnTo>
                  <a:pt x="0" y="281270"/>
                </a:lnTo>
                <a:cubicBezTo>
                  <a:pt x="0" y="125929"/>
                  <a:pt x="125929" y="0"/>
                  <a:pt x="281270" y="0"/>
                </a:cubicBezTo>
                <a:close/>
              </a:path>
            </a:pathLst>
          </a:custGeom>
          <a:solidFill>
            <a:srgbClr val="625772"/>
          </a:solidFill>
          <a:ln>
            <a:solidFill>
              <a:srgbClr val="2D27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2400">
              <a:solidFill>
                <a:prstClr val="white"/>
              </a:solidFill>
            </a:endParaRPr>
          </a:p>
        </p:txBody>
      </p:sp>
      <p:sp>
        <p:nvSpPr>
          <p:cNvPr id="27" name="타원형 설명선 7">
            <a:extLst>
              <a:ext uri="{FF2B5EF4-FFF2-40B4-BE49-F238E27FC236}">
                <a16:creationId xmlns:a16="http://schemas.microsoft.com/office/drawing/2014/main" xmlns="" id="{581DA57B-4620-4947-AC13-EA568D7B57AD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CBA7750-A88C-45B1-9727-9D0A30D6EF08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4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3"/>
          <p:cNvGrpSpPr/>
          <p:nvPr/>
        </p:nvGrpSpPr>
        <p:grpSpPr>
          <a:xfrm>
            <a:off x="488876" y="1376959"/>
            <a:ext cx="3556464" cy="2448273"/>
            <a:chOff x="179512" y="1988840"/>
            <a:chExt cx="2250008" cy="1584178"/>
          </a:xfrm>
        </p:grpSpPr>
        <p:sp>
          <p:nvSpPr>
            <p:cNvPr id="5" name="직사각형 4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만개의 레시피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" name="TextBox 25"/>
            <p:cNvSpPr txBox="1">
              <a:spLocks noChangeArrowheads="1"/>
            </p:cNvSpPr>
            <p:nvPr/>
          </p:nvSpPr>
          <p:spPr bwMode="auto">
            <a:xfrm>
              <a:off x="269280" y="2577401"/>
              <a:ext cx="216024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400" dirty="0">
                  <a:solidFill>
                    <a:schemeClr val="bg1"/>
                  </a:solidFill>
                </a:rPr>
                <a:t>http://www.10000recipe.com/</a:t>
              </a: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0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" name="직선 연결선 8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이등변 삼각형 10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4388447" y="1362886"/>
            <a:ext cx="3528392" cy="2448273"/>
            <a:chOff x="179512" y="1988840"/>
            <a:chExt cx="2232248" cy="1584178"/>
          </a:xfrm>
        </p:grpSpPr>
        <p:sp>
          <p:nvSpPr>
            <p:cNvPr id="13" name="직사각형 12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 err="1">
                  <a:solidFill>
                    <a:schemeClr val="bg1"/>
                  </a:solidFill>
                </a:rPr>
                <a:t>이밥차</a:t>
              </a:r>
              <a:r>
                <a:rPr lang="ko-KR" altLang="en-US" sz="1050" dirty="0">
                  <a:solidFill>
                    <a:schemeClr val="bg1"/>
                  </a:solidFill>
                </a:rPr>
                <a:t> </a:t>
              </a:r>
              <a:r>
                <a:rPr lang="en-US" altLang="ko-KR" sz="1050" dirty="0">
                  <a:solidFill>
                    <a:schemeClr val="bg1"/>
                  </a:solidFill>
                </a:rPr>
                <a:t>(2000</a:t>
              </a:r>
              <a:r>
                <a:rPr lang="ko-KR" altLang="en-US" sz="1050" dirty="0">
                  <a:solidFill>
                    <a:schemeClr val="bg1"/>
                  </a:solidFill>
                </a:rPr>
                <a:t>원으로 </a:t>
              </a:r>
              <a:r>
                <a:rPr lang="ko-KR" altLang="en-US" sz="1050" dirty="0" err="1">
                  <a:solidFill>
                    <a:schemeClr val="bg1"/>
                  </a:solidFill>
                </a:rPr>
                <a:t>밥상차리기</a:t>
              </a:r>
              <a:r>
                <a:rPr lang="en-US" altLang="ko-KR" sz="1050" dirty="0">
                  <a:solidFill>
                    <a:schemeClr val="bg1"/>
                  </a:solidFill>
                </a:rPr>
                <a:t>)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78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dirty="0">
                  <a:solidFill>
                    <a:schemeClr val="bg1"/>
                  </a:solidFill>
                </a:rPr>
                <a:t>2bob.co.kr</a:t>
              </a:r>
              <a:endParaRPr lang="en-US" altLang="ko-KR" dirty="0">
                <a:solidFill>
                  <a:schemeClr val="bg1"/>
                </a:solidFill>
                <a:hlinkClick r:id="rId2"/>
              </a:endParaRPr>
            </a:p>
          </p:txBody>
        </p:sp>
        <p:sp>
          <p:nvSpPr>
            <p:cNvPr id="16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7" name="직선 연결선 16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이등변 삼각형 18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88876" y="3897238"/>
            <a:ext cx="3528392" cy="2631078"/>
            <a:chOff x="179512" y="1988840"/>
            <a:chExt cx="2232248" cy="1702464"/>
          </a:xfrm>
        </p:grpSpPr>
        <p:sp>
          <p:nvSpPr>
            <p:cNvPr id="21" name="직사각형 20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 가구 기사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3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</a:rPr>
                <a:t>http://www.newsis.com/view/?id=NISX20190528_0000664648</a:t>
              </a:r>
              <a:endParaRPr lang="en-US" altLang="ko-KR" sz="16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622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2019.05.29</a:t>
              </a:r>
              <a:r>
                <a:rPr lang="en-US" altLang="ko-KR" dirty="0"/>
                <a:t>.</a:t>
              </a:r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5" name="직선 연결선 24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이등변 삼각형 26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4388447" y="3883165"/>
            <a:ext cx="3528392" cy="2559557"/>
            <a:chOff x="179512" y="1988840"/>
            <a:chExt cx="2232248" cy="1656186"/>
          </a:xfrm>
        </p:grpSpPr>
        <p:sp>
          <p:nvSpPr>
            <p:cNvPr id="29" name="직사각형 28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네이버 지도 </a:t>
              </a:r>
              <a:r>
                <a:rPr lang="en-US" altLang="ko-KR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0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navermaps.github.io/maps.js/docs/tutorial-2-Getting-Started.html</a:t>
              </a: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TextBox 25"/>
            <p:cNvSpPr txBox="1">
              <a:spLocks noChangeArrowheads="1"/>
            </p:cNvSpPr>
            <p:nvPr/>
          </p:nvSpPr>
          <p:spPr bwMode="auto">
            <a:xfrm>
              <a:off x="251520" y="3097364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이등변 삼각형 34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27567" y="30628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7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출처</a:t>
            </a:r>
            <a:r>
              <a:rPr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Data 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38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9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0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1" name="타원형 설명선 40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2" name="TextBox 41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5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8288020" y="1362886"/>
            <a:ext cx="3528392" cy="2448273"/>
            <a:chOff x="179512" y="1988840"/>
            <a:chExt cx="2232248" cy="1584178"/>
          </a:xfrm>
        </p:grpSpPr>
        <p:sp>
          <p:nvSpPr>
            <p:cNvPr id="44" name="직사각형 43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 err="1">
                  <a:solidFill>
                    <a:schemeClr val="bg1"/>
                  </a:solidFill>
                </a:rPr>
                <a:t>해먹남녀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1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400" dirty="0">
                  <a:solidFill>
                    <a:schemeClr val="bg1"/>
                  </a:solidFill>
                </a:rPr>
                <a:t>https://www.haemukja.com/</a:t>
              </a:r>
              <a:endParaRPr lang="en-US" altLang="ko-KR" sz="10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7" name="TextBox 25"/>
            <p:cNvSpPr txBox="1">
              <a:spLocks noChangeArrowheads="1"/>
            </p:cNvSpPr>
            <p:nvPr/>
          </p:nvSpPr>
          <p:spPr bwMode="auto">
            <a:xfrm>
              <a:off x="251520" y="303660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8" name="직선 연결선 47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이등변 삼각형 49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8288020" y="3883166"/>
            <a:ext cx="3528392" cy="2515659"/>
            <a:chOff x="179512" y="1988840"/>
            <a:chExt cx="2232248" cy="1627781"/>
          </a:xfrm>
        </p:grpSpPr>
        <p:sp>
          <p:nvSpPr>
            <p:cNvPr id="52" name="직사각형 51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3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경기도 맛집 </a:t>
              </a:r>
              <a:r>
                <a:rPr lang="en-US" altLang="ko-KR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388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1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data.gg.go.kr/portal/data/service/selectServicePage.do?page=1&amp;&amp;rows=10</a:t>
              </a:r>
            </a:p>
          </p:txBody>
        </p:sp>
        <p:sp>
          <p:nvSpPr>
            <p:cNvPr id="55" name="TextBox 25"/>
            <p:cNvSpPr txBox="1">
              <a:spLocks noChangeArrowheads="1"/>
            </p:cNvSpPr>
            <p:nvPr/>
          </p:nvSpPr>
          <p:spPr bwMode="auto">
            <a:xfrm>
              <a:off x="215516" y="3068959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/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이등변 삼각형 57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4896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그룹 3"/>
          <p:cNvGrpSpPr/>
          <p:nvPr/>
        </p:nvGrpSpPr>
        <p:grpSpPr>
          <a:xfrm>
            <a:off x="488876" y="1376958"/>
            <a:ext cx="3528392" cy="2515662"/>
            <a:chOff x="179512" y="1988840"/>
            <a:chExt cx="2232248" cy="1627783"/>
          </a:xfrm>
        </p:grpSpPr>
        <p:sp>
          <p:nvSpPr>
            <p:cNvPr id="5" name="직사각형 4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18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200" dirty="0">
                  <a:solidFill>
                    <a:schemeClr val="bg1"/>
                  </a:solidFill>
                </a:rPr>
                <a:t>이달의 음식 레시피 </a:t>
              </a:r>
              <a:r>
                <a:rPr lang="en-US" altLang="ko-KR" sz="1200" dirty="0">
                  <a:solidFill>
                    <a:schemeClr val="bg1"/>
                  </a:solidFill>
                </a:rPr>
                <a:t>API</a:t>
              </a:r>
              <a:endParaRPr lang="en-US" altLang="ko-KR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38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  <a:endParaRPr lang="ko-KR" altLang="ko-KR" dirty="0"/>
            </a:p>
            <a:p>
              <a:r>
                <a:rPr lang="en-US" altLang="ko-KR" sz="1200" u="sng" dirty="0">
                  <a:solidFill>
                    <a:schemeClr val="bg1"/>
                  </a:solidFill>
                </a:rPr>
                <a:t>http://www.nongsaro.go.kr/portal/ps/psz/psza/contentMain.ps?menuId=PS03954</a:t>
              </a:r>
              <a:endParaRPr lang="en-US" altLang="ko-KR" sz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9" name="직선 연결선 8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이등변 삼각형 10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4388447" y="1362886"/>
            <a:ext cx="3528392" cy="2448273"/>
            <a:chOff x="179512" y="1988840"/>
            <a:chExt cx="2232248" cy="1584178"/>
          </a:xfrm>
        </p:grpSpPr>
        <p:sp>
          <p:nvSpPr>
            <p:cNvPr id="13" name="직사각형 12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심 레시피</a:t>
              </a:r>
              <a:endParaRPr lang="en-US" altLang="ko-KR" sz="1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://www.data.go.kr/dataset/15000158/openapi.do</a:t>
              </a:r>
            </a:p>
          </p:txBody>
        </p:sp>
        <p:sp>
          <p:nvSpPr>
            <p:cNvPr id="16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4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7" name="직선 연결선 16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이등변 삼각형 18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488876" y="3897237"/>
            <a:ext cx="3528392" cy="2505358"/>
            <a:chOff x="179512" y="1988840"/>
            <a:chExt cx="2232248" cy="1621116"/>
          </a:xfrm>
        </p:grpSpPr>
        <p:sp>
          <p:nvSpPr>
            <p:cNvPr id="21" name="직사각형 20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튜브 업로드 </a:t>
              </a:r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</a:p>
          </p:txBody>
        </p:sp>
        <p:sp>
          <p:nvSpPr>
            <p:cNvPr id="23" name="TextBox 25"/>
            <p:cNvSpPr txBox="1">
              <a:spLocks noChangeArrowheads="1"/>
            </p:cNvSpPr>
            <p:nvPr/>
          </p:nvSpPr>
          <p:spPr bwMode="auto">
            <a:xfrm>
              <a:off x="251520" y="2564906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sz="1100" u="sng" dirty="0">
                  <a:solidFill>
                    <a:schemeClr val="bg1"/>
                  </a:solidFill>
                </a:rPr>
                <a:t>https://developers.google.com/youtube/v3/guides/uploading_a_video?hl=ko</a:t>
              </a:r>
              <a:endParaRPr lang="ko-KR" altLang="ko-KR" sz="1100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5"/>
            <p:cNvSpPr txBox="1">
              <a:spLocks noChangeArrowheads="1"/>
            </p:cNvSpPr>
            <p:nvPr/>
          </p:nvSpPr>
          <p:spPr bwMode="auto">
            <a:xfrm>
              <a:off x="203872" y="3062294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b="1" dirty="0"/>
                <a:t>.</a:t>
              </a:r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25" name="직선 연결선 24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이등변 삼각형 26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4388447" y="3883166"/>
            <a:ext cx="3528392" cy="2515662"/>
            <a:chOff x="179512" y="1988840"/>
            <a:chExt cx="2232248" cy="1627783"/>
          </a:xfrm>
        </p:grpSpPr>
        <p:sp>
          <p:nvSpPr>
            <p:cNvPr id="29" name="직사각형 28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통기한 </a:t>
              </a:r>
              <a:r>
                <a:rPr lang="en-US" altLang="ko-KR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PI</a:t>
              </a: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215516" y="2582909"/>
              <a:ext cx="2160240" cy="667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u="sng" dirty="0">
                  <a:solidFill>
                    <a:schemeClr val="bg1"/>
                  </a:solidFill>
                </a:rPr>
                <a:t>https://m.blog.naver.com/PostView.nhn?blogId=ydlee4211&amp;logNo=220769082404&amp;proxyReferer=https%3A%2F%2Fwww.google.com%2F</a:t>
              </a:r>
              <a:endParaRPr lang="ko-KR" altLang="ko-KR" sz="1100" dirty="0">
                <a:solidFill>
                  <a:schemeClr val="bg1"/>
                </a:solidFill>
              </a:endParaRPr>
            </a:p>
            <a:p>
              <a:pPr marL="342900" indent="-342900"/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2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이등변 삼각형 34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36" name="모서리가 둥근 직사각형 35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7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출처</a:t>
            </a:r>
            <a:r>
              <a:rPr lang="ko-KR" alt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en-US" altLang="ko-KR" sz="2667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API, DB </a:t>
            </a:r>
            <a:endParaRPr lang="ko-KR" altLang="en-US" sz="2667" dirty="0">
              <a:solidFill>
                <a:srgbClr val="625772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38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9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0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41" name="타원형 설명선 40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42" name="TextBox 41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5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8288020" y="1362886"/>
            <a:ext cx="3576325" cy="2448273"/>
            <a:chOff x="179512" y="1988840"/>
            <a:chExt cx="2262573" cy="1584178"/>
          </a:xfrm>
        </p:grpSpPr>
        <p:sp>
          <p:nvSpPr>
            <p:cNvPr id="44" name="직사각형 43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</a:rPr>
                <a:t>식품의약품안전처 조리</a:t>
              </a:r>
              <a:r>
                <a:rPr lang="en-US" altLang="ko-KR" sz="1050" dirty="0">
                  <a:solidFill>
                    <a:schemeClr val="bg1"/>
                  </a:solidFill>
                </a:rPr>
                <a:t>DB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6" name="TextBox 25"/>
            <p:cNvSpPr txBox="1">
              <a:spLocks noChangeArrowheads="1"/>
            </p:cNvSpPr>
            <p:nvPr/>
          </p:nvSpPr>
          <p:spPr bwMode="auto">
            <a:xfrm>
              <a:off x="281845" y="2545953"/>
              <a:ext cx="2160240" cy="418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r>
                <a:rPr lang="en-US" altLang="ko-KR" sz="1100" u="sng" dirty="0">
                  <a:solidFill>
                    <a:schemeClr val="bg1"/>
                  </a:solidFill>
                </a:rPr>
                <a:t>http://www.sdfi.co.kr/foodsafetykorea/list.asp?fs_id=COOKRCP01</a:t>
              </a:r>
              <a:endParaRPr lang="ko-KR" altLang="ko-KR" sz="1100" dirty="0">
                <a:solidFill>
                  <a:schemeClr val="bg1"/>
                </a:solidFill>
              </a:endParaRPr>
            </a:p>
          </p:txBody>
        </p:sp>
        <p:sp>
          <p:nvSpPr>
            <p:cNvPr id="47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44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48" name="직선 연결선 47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직선 연결선 48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이등변 삼각형 49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8288020" y="3883166"/>
            <a:ext cx="3528392" cy="2515662"/>
            <a:chOff x="179512" y="1988840"/>
            <a:chExt cx="2232248" cy="1627783"/>
          </a:xfrm>
        </p:grpSpPr>
        <p:sp>
          <p:nvSpPr>
            <p:cNvPr id="52" name="직사각형 51"/>
            <p:cNvSpPr/>
            <p:nvPr/>
          </p:nvSpPr>
          <p:spPr>
            <a:xfrm>
              <a:off x="179512" y="1988842"/>
              <a:ext cx="2232248" cy="1584176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7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3" name="TextBox 25"/>
            <p:cNvSpPr txBox="1">
              <a:spLocks noChangeArrowheads="1"/>
            </p:cNvSpPr>
            <p:nvPr/>
          </p:nvSpPr>
          <p:spPr bwMode="auto">
            <a:xfrm>
              <a:off x="251520" y="2060850"/>
              <a:ext cx="2160240" cy="3037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te</a:t>
              </a:r>
            </a:p>
            <a:p>
              <a:pPr marL="342900" indent="-342900"/>
              <a:r>
                <a:rPr lang="ko-KR" altLang="en-US" sz="1050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카오 </a:t>
              </a:r>
              <a:r>
                <a:rPr lang="ko-KR" altLang="en-US" sz="1050" dirty="0" err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디벨로퍼</a:t>
              </a:r>
              <a:endParaRPr lang="en-US" altLang="ko-KR" sz="105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TextBox 25"/>
            <p:cNvSpPr txBox="1">
              <a:spLocks noChangeArrowheads="1"/>
            </p:cNvSpPr>
            <p:nvPr/>
          </p:nvSpPr>
          <p:spPr bwMode="auto">
            <a:xfrm>
              <a:off x="251519" y="2582909"/>
              <a:ext cx="2160240" cy="308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RL</a:t>
              </a:r>
            </a:p>
            <a:p>
              <a:pPr marL="342900" indent="-342900"/>
              <a:r>
                <a:rPr lang="en-US" altLang="ko-KR" sz="1100" dirty="0">
                  <a:solidFill>
                    <a:schemeClr val="bg1"/>
                  </a:solidFill>
                </a:rPr>
                <a:t>https://developers.kakao.com/</a:t>
              </a:r>
              <a:endParaRPr lang="en-US" altLang="ko-KR" sz="1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TextBox 25"/>
            <p:cNvSpPr txBox="1">
              <a:spLocks noChangeArrowheads="1"/>
            </p:cNvSpPr>
            <p:nvPr/>
          </p:nvSpPr>
          <p:spPr bwMode="auto">
            <a:xfrm>
              <a:off x="251520" y="3068961"/>
              <a:ext cx="2160240" cy="547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342900" indent="-342900"/>
              <a:r>
                <a:rPr lang="en-US" altLang="ko-KR" sz="1400" dirty="0">
                  <a:solidFill>
                    <a:srgbClr val="FF6E57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e.</a:t>
              </a:r>
            </a:p>
            <a:p>
              <a:pPr marL="342900" indent="-342900"/>
              <a:r>
                <a:rPr lang="en-US" altLang="ko-KR" sz="1050" dirty="0"/>
                <a:t> </a:t>
              </a:r>
              <a:br>
                <a:rPr lang="en-US" altLang="ko-KR" sz="1050" dirty="0"/>
              </a:br>
              <a:r>
                <a:rPr lang="en-US" altLang="ko-KR" sz="1050" dirty="0"/>
                <a:t/>
              </a:r>
              <a:br>
                <a:rPr lang="en-US" altLang="ko-KR" sz="1050" dirty="0"/>
              </a:br>
              <a:endParaRPr lang="en-US" altLang="ko-KR" sz="14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56" name="직선 연결선 55"/>
            <p:cNvCxnSpPr/>
            <p:nvPr/>
          </p:nvCxnSpPr>
          <p:spPr>
            <a:xfrm>
              <a:off x="323528" y="2564904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323528" y="3068960"/>
              <a:ext cx="2016224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이등변 삼각형 57"/>
            <p:cNvSpPr/>
            <p:nvPr/>
          </p:nvSpPr>
          <p:spPr>
            <a:xfrm rot="16200000">
              <a:off x="2022918" y="2017643"/>
              <a:ext cx="417645" cy="36003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8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72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그룹 44"/>
          <p:cNvGrpSpPr/>
          <p:nvPr/>
        </p:nvGrpSpPr>
        <p:grpSpPr>
          <a:xfrm>
            <a:off x="1102980" y="2214153"/>
            <a:ext cx="6452407" cy="2264689"/>
            <a:chOff x="2193992" y="1131590"/>
            <a:chExt cx="4839306" cy="1698517"/>
          </a:xfrm>
        </p:grpSpPr>
        <p:sp>
          <p:nvSpPr>
            <p:cNvPr id="7" name="TextBox 6"/>
            <p:cNvSpPr txBox="1"/>
            <p:nvPr/>
          </p:nvSpPr>
          <p:spPr>
            <a:xfrm>
              <a:off x="2193992" y="1203598"/>
              <a:ext cx="4839306" cy="16080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80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Thank you </a:t>
              </a:r>
            </a:p>
            <a:p>
              <a:pPr algn="ctr"/>
              <a:r>
                <a:rPr lang="en-US" altLang="ko-KR" sz="5333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for your attention</a:t>
              </a:r>
              <a:endParaRPr lang="ko-KR" altLang="en-US" sz="5333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8" name="직선 연결선 7"/>
            <p:cNvCxnSpPr/>
            <p:nvPr/>
          </p:nvCxnSpPr>
          <p:spPr>
            <a:xfrm>
              <a:off x="2410365" y="2830107"/>
              <a:ext cx="432665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직선 연결선 9"/>
            <p:cNvCxnSpPr/>
            <p:nvPr/>
          </p:nvCxnSpPr>
          <p:spPr>
            <a:xfrm>
              <a:off x="2410365" y="1131590"/>
              <a:ext cx="432665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그룹 10"/>
          <p:cNvGrpSpPr/>
          <p:nvPr/>
        </p:nvGrpSpPr>
        <p:grpSpPr>
          <a:xfrm rot="10800000">
            <a:off x="7262382" y="118261"/>
            <a:ext cx="4464367" cy="3310739"/>
            <a:chOff x="6114376" y="3254376"/>
            <a:chExt cx="4550449" cy="3374575"/>
          </a:xfrm>
        </p:grpSpPr>
        <p:pic>
          <p:nvPicPr>
            <p:cNvPr id="12" name="Picture 2" descr="C:\Users\user\Desktop\iconfind_0405000919.png"/>
            <p:cNvPicPr>
              <a:picLocks noChangeAspect="1" noChangeArrowheads="1"/>
            </p:cNvPicPr>
            <p:nvPr/>
          </p:nvPicPr>
          <p:blipFill>
            <a:blip r:embed="rId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623410" y="325437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3" name="Picture 3" descr="C:\Users\user\Desktop\iconfind_0405001001.png"/>
            <p:cNvPicPr>
              <a:picLocks noChangeAspect="1" noChangeArrowheads="1"/>
            </p:cNvPicPr>
            <p:nvPr/>
          </p:nvPicPr>
          <p:blipFill>
            <a:blip r:embed="rId3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260779" y="534556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4" name="Picture 4" descr="C:\Users\user\Desktop\iconfind_0405001036.png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lum bright="46000"/>
            </a:blip>
            <a:srcRect/>
            <a:stretch>
              <a:fillRect/>
            </a:stretch>
          </p:blipFill>
          <p:spPr bwMode="auto">
            <a:xfrm flipV="1">
              <a:off x="8538037" y="4730752"/>
              <a:ext cx="457201" cy="409575"/>
            </a:xfrm>
            <a:prstGeom prst="rect">
              <a:avLst/>
            </a:prstGeom>
            <a:noFill/>
          </p:spPr>
        </p:pic>
        <p:pic>
          <p:nvPicPr>
            <p:cNvPr id="15" name="Picture 5" descr="C:\Users\user\Desktop\iconfind_0405001056.png"/>
            <p:cNvPicPr>
              <a:picLocks noChangeAspect="1" noChangeArrowheads="1"/>
            </p:cNvPicPr>
            <p:nvPr/>
          </p:nvPicPr>
          <p:blipFill>
            <a:blip r:embed="rId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433464" y="5460774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6" name="Picture 6" descr="C:\Users\user\Desktop\iconfind_0405001149.png"/>
            <p:cNvPicPr>
              <a:picLocks noChangeAspect="1" noChangeArrowheads="1"/>
            </p:cNvPicPr>
            <p:nvPr/>
          </p:nvPicPr>
          <p:blipFill>
            <a:blip r:embed="rId6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176666" y="4618720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7" name="Picture 7" descr="C:\Users\user\Desktop\iconfind_0405001213.png"/>
            <p:cNvPicPr>
              <a:picLocks noChangeAspect="1" noChangeArrowheads="1"/>
            </p:cNvPicPr>
            <p:nvPr/>
          </p:nvPicPr>
          <p:blipFill>
            <a:blip r:embed="rId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305127" y="421209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8" name="Picture 8" descr="C:\Users\user\Desktop\iconfind_0405001259.png"/>
            <p:cNvPicPr>
              <a:picLocks noChangeAspect="1" noChangeArrowheads="1"/>
            </p:cNvPicPr>
            <p:nvPr/>
          </p:nvPicPr>
          <p:blipFill>
            <a:blip r:embed="rId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868440" y="399483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19" name="Picture 10" descr="C:\Users\user\Desktop\iconfind_0405001341.png"/>
            <p:cNvPicPr>
              <a:picLocks noChangeAspect="1" noChangeArrowheads="1"/>
            </p:cNvPicPr>
            <p:nvPr/>
          </p:nvPicPr>
          <p:blipFill>
            <a:blip r:embed="rId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766638" y="5327201"/>
              <a:ext cx="545646" cy="545646"/>
            </a:xfrm>
            <a:prstGeom prst="rect">
              <a:avLst/>
            </a:prstGeom>
            <a:noFill/>
          </p:spPr>
        </p:pic>
        <p:pic>
          <p:nvPicPr>
            <p:cNvPr id="20" name="Picture 11" descr="C:\Users\user\Desktop\iconfind_0405001410.png"/>
            <p:cNvPicPr>
              <a:picLocks noChangeAspect="1" noChangeArrowheads="1"/>
            </p:cNvPicPr>
            <p:nvPr/>
          </p:nvPicPr>
          <p:blipFill>
            <a:blip r:embed="rId10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708555" y="512671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1" name="Picture 12" descr="C:\Users\user\Desktop\iconfind_0405001441.png"/>
            <p:cNvPicPr>
              <a:picLocks noChangeAspect="1" noChangeArrowheads="1"/>
            </p:cNvPicPr>
            <p:nvPr/>
          </p:nvPicPr>
          <p:blipFill>
            <a:blip r:embed="rId11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900441" y="411049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2" name="Picture 13" descr="C:\Users\user\Desktop\iconfind_0405001511.png"/>
            <p:cNvPicPr>
              <a:picLocks noChangeAspect="1" noChangeArrowheads="1"/>
            </p:cNvPicPr>
            <p:nvPr/>
          </p:nvPicPr>
          <p:blipFill>
            <a:blip r:embed="rId1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971174" y="583837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3" name="Picture 14" descr="C:\Users\user\Desktop\iconfind_0405001529.png"/>
            <p:cNvPicPr>
              <a:picLocks noChangeAspect="1" noChangeArrowheads="1"/>
            </p:cNvPicPr>
            <p:nvPr/>
          </p:nvPicPr>
          <p:blipFill>
            <a:blip r:embed="rId13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6114376" y="5954715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4" name="Picture 15" descr="C:\Users\user\Desktop\iconfind_0405001601.png"/>
            <p:cNvPicPr>
              <a:picLocks noChangeAspect="1" noChangeArrowheads="1"/>
            </p:cNvPicPr>
            <p:nvPr/>
          </p:nvPicPr>
          <p:blipFill>
            <a:blip r:embed="rId14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913921" y="5175704"/>
              <a:ext cx="608116" cy="557440"/>
            </a:xfrm>
            <a:prstGeom prst="rect">
              <a:avLst/>
            </a:prstGeom>
            <a:noFill/>
          </p:spPr>
        </p:pic>
        <p:pic>
          <p:nvPicPr>
            <p:cNvPr id="25" name="Picture 16" descr="C:\Users\user\Desktop\iconfind_0405001619.png"/>
            <p:cNvPicPr>
              <a:picLocks noChangeAspect="1" noChangeArrowheads="1"/>
            </p:cNvPicPr>
            <p:nvPr/>
          </p:nvPicPr>
          <p:blipFill>
            <a:blip r:embed="rId1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335290" y="583814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6" name="Picture 17" descr="C:\Users\user\Desktop\iconfind_0405001707.png"/>
            <p:cNvPicPr>
              <a:picLocks noChangeAspect="1" noChangeArrowheads="1"/>
            </p:cNvPicPr>
            <p:nvPr/>
          </p:nvPicPr>
          <p:blipFill>
            <a:blip r:embed="rId16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667633" y="5881915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7" name="Picture 18" descr="C:\Users\user\Desktop\iconfind_0405001733.png"/>
            <p:cNvPicPr>
              <a:picLocks noChangeAspect="1" noChangeArrowheads="1"/>
            </p:cNvPicPr>
            <p:nvPr/>
          </p:nvPicPr>
          <p:blipFill>
            <a:blip r:embed="rId1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231750" y="4735514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8" name="Picture 19" descr="C:\Users\user\Desktop\iconfind_0405001808.png"/>
            <p:cNvPicPr>
              <a:picLocks noChangeAspect="1" noChangeArrowheads="1"/>
            </p:cNvPicPr>
            <p:nvPr/>
          </p:nvPicPr>
          <p:blipFill>
            <a:blip r:embed="rId1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391407" y="415448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29" name="Picture 20" descr="C:\Users\user\Desktop\iconfind_0405001824.png"/>
            <p:cNvPicPr>
              <a:picLocks noChangeAspect="1" noChangeArrowheads="1"/>
            </p:cNvPicPr>
            <p:nvPr/>
          </p:nvPicPr>
          <p:blipFill>
            <a:blip r:embed="rId1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160665" y="325550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0" name="Picture 21" descr="C:\Users\user\Desktop\iconfind_0405001847.png"/>
            <p:cNvPicPr>
              <a:picLocks noChangeAspect="1" noChangeArrowheads="1"/>
            </p:cNvPicPr>
            <p:nvPr/>
          </p:nvPicPr>
          <p:blipFill>
            <a:blip r:embed="rId20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6666146" y="4561569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1" name="Picture 22" descr="C:\Users\user\Desktop\iconfind_0405001901.png"/>
            <p:cNvPicPr>
              <a:picLocks noChangeAspect="1" noChangeArrowheads="1"/>
            </p:cNvPicPr>
            <p:nvPr/>
          </p:nvPicPr>
          <p:blipFill>
            <a:blip r:embed="rId21" cstate="print">
              <a:lum bright="46000"/>
            </a:blip>
            <a:srcRect/>
            <a:stretch>
              <a:fillRect/>
            </a:stretch>
          </p:blipFill>
          <p:spPr bwMode="auto">
            <a:xfrm rot="2057889">
              <a:off x="8465694" y="364694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2" name="Picture 23" descr="C:\Users\user\Desktop\iconfind_0405001917.png"/>
            <p:cNvPicPr>
              <a:picLocks noChangeAspect="1" noChangeArrowheads="1"/>
            </p:cNvPicPr>
            <p:nvPr/>
          </p:nvPicPr>
          <p:blipFill>
            <a:blip r:embed="rId2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7319060" y="369070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3" name="Picture 24" descr="C:\Users\user\Desktop\iconfind_0405001939.png"/>
            <p:cNvPicPr>
              <a:picLocks noChangeAspect="1" noChangeArrowheads="1"/>
            </p:cNvPicPr>
            <p:nvPr/>
          </p:nvPicPr>
          <p:blipFill>
            <a:blip r:embed="rId23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7884441" y="4575403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4" name="Picture 25" descr="C:\Users\user\Desktop\iconfind_0405002008.png"/>
            <p:cNvPicPr>
              <a:picLocks noChangeAspect="1" noChangeArrowheads="1"/>
            </p:cNvPicPr>
            <p:nvPr/>
          </p:nvPicPr>
          <p:blipFill>
            <a:blip r:embed="rId24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7942724" y="379185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5" name="Picture 27" descr="C:\Users\user\Desktop\iconfind_0405002213.png"/>
            <p:cNvPicPr>
              <a:picLocks noChangeAspect="1" noChangeArrowheads="1"/>
            </p:cNvPicPr>
            <p:nvPr/>
          </p:nvPicPr>
          <p:blipFill>
            <a:blip r:embed="rId25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8915635" y="5954942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6" name="Picture 28" descr="C:\Users\user\Desktop\iconfind_0405002234.png"/>
            <p:cNvPicPr>
              <a:picLocks noChangeAspect="1" noChangeArrowheads="1"/>
            </p:cNvPicPr>
            <p:nvPr/>
          </p:nvPicPr>
          <p:blipFill>
            <a:blip r:embed="rId26" cstate="print">
              <a:lum bright="46000"/>
            </a:blip>
            <a:srcRect/>
            <a:stretch>
              <a:fillRect/>
            </a:stretch>
          </p:blipFill>
          <p:spPr bwMode="auto">
            <a:xfrm>
              <a:off x="6660025" y="6171750"/>
              <a:ext cx="266700" cy="457201"/>
            </a:xfrm>
            <a:prstGeom prst="rect">
              <a:avLst/>
            </a:prstGeom>
            <a:noFill/>
          </p:spPr>
        </p:pic>
        <p:pic>
          <p:nvPicPr>
            <p:cNvPr id="37" name="Picture 29" descr="C:\Users\user\Desktop\iconfind_0405002247.png"/>
            <p:cNvPicPr>
              <a:picLocks noChangeAspect="1" noChangeArrowheads="1"/>
            </p:cNvPicPr>
            <p:nvPr/>
          </p:nvPicPr>
          <p:blipFill>
            <a:blip r:embed="rId27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945925" y="5505226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8" name="Picture 30" descr="C:\Users\user\Desktop\iconfind_0405002309.png"/>
            <p:cNvPicPr>
              <a:picLocks noChangeAspect="1" noChangeArrowheads="1"/>
            </p:cNvPicPr>
            <p:nvPr/>
          </p:nvPicPr>
          <p:blipFill>
            <a:blip r:embed="rId28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66500" y="5664658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39" name="Picture 31" descr="C:\Users\user\Desktop\iconfind_0405002320.png"/>
            <p:cNvPicPr>
              <a:picLocks noChangeAspect="1" noChangeArrowheads="1"/>
            </p:cNvPicPr>
            <p:nvPr/>
          </p:nvPicPr>
          <p:blipFill>
            <a:blip r:embed="rId29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80787" y="615769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0" name="Picture 32" descr="C:\Users\user\Desktop\iconfind_0405002341.png"/>
            <p:cNvPicPr>
              <a:picLocks noChangeAspect="1" noChangeArrowheads="1"/>
            </p:cNvPicPr>
            <p:nvPr/>
          </p:nvPicPr>
          <p:blipFill>
            <a:blip r:embed="rId30" cstate="print">
              <a:lum bright="46000"/>
            </a:blip>
            <a:srcRect/>
            <a:stretch>
              <a:fillRect/>
            </a:stretch>
          </p:blipFill>
          <p:spPr bwMode="auto">
            <a:xfrm rot="4831434" flipV="1">
              <a:off x="9786950" y="489449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1" name="Picture 33" descr="C:\Users\user\Desktop\iconfind_0405002358.png"/>
            <p:cNvPicPr>
              <a:picLocks noChangeAspect="1" noChangeArrowheads="1"/>
            </p:cNvPicPr>
            <p:nvPr/>
          </p:nvPicPr>
          <p:blipFill>
            <a:blip r:embed="rId31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9409348" y="5155751"/>
              <a:ext cx="457201" cy="457201"/>
            </a:xfrm>
            <a:prstGeom prst="rect">
              <a:avLst/>
            </a:prstGeom>
            <a:noFill/>
          </p:spPr>
        </p:pic>
        <p:pic>
          <p:nvPicPr>
            <p:cNvPr id="42" name="Picture 34" descr="C:\Users\user\Desktop\iconfind_0405002415.png"/>
            <p:cNvPicPr>
              <a:picLocks noChangeAspect="1" noChangeArrowheads="1"/>
            </p:cNvPicPr>
            <p:nvPr/>
          </p:nvPicPr>
          <p:blipFill>
            <a:blip r:embed="rId32" cstate="print">
              <a:lum bright="46000"/>
            </a:blip>
            <a:srcRect/>
            <a:stretch>
              <a:fillRect/>
            </a:stretch>
          </p:blipFill>
          <p:spPr bwMode="auto">
            <a:xfrm flipV="1">
              <a:off x="10207624" y="6070146"/>
              <a:ext cx="457201" cy="457201"/>
            </a:xfrm>
            <a:prstGeom prst="rect">
              <a:avLst/>
            </a:prstGeom>
            <a:noFill/>
          </p:spPr>
        </p:pic>
      </p:grpSp>
      <p:pic>
        <p:nvPicPr>
          <p:cNvPr id="44" name="그림 43" descr="그리기이(가) 표시된 사진&#10;&#10;자동 생성된 설명">
            <a:extLst>
              <a:ext uri="{FF2B5EF4-FFF2-40B4-BE49-F238E27FC236}">
                <a16:creationId xmlns:a16="http://schemas.microsoft.com/office/drawing/2014/main" xmlns="" id="{AB6DC744-0F1B-45AC-B104-DCD870F3634C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3389" y="3688002"/>
            <a:ext cx="1993663" cy="1993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9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18117-6328-4BF6-B483-3F8355306CA5}" type="slidenum">
              <a:rPr lang="ko-KR" altLang="en-US" smtClean="0"/>
              <a:pPr/>
              <a:t>2</a:t>
            </a:fld>
            <a:endParaRPr lang="ko-KR" altLang="en-US"/>
          </a:p>
        </p:txBody>
      </p:sp>
      <p:pic>
        <p:nvPicPr>
          <p:cNvPr id="18434" name="Picture 2" descr="C:\Users\user\Desktop\ppt디자인 참고\1382356266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266" t="9933" r="2494" b="18331"/>
          <a:stretch>
            <a:fillRect/>
          </a:stretch>
        </p:blipFill>
        <p:spPr bwMode="auto">
          <a:xfrm>
            <a:off x="1299645" y="1909241"/>
            <a:ext cx="4265827" cy="3648405"/>
          </a:xfrm>
          <a:prstGeom prst="rect">
            <a:avLst/>
          </a:prstGeom>
          <a:noFill/>
        </p:spPr>
      </p:pic>
      <p:grpSp>
        <p:nvGrpSpPr>
          <p:cNvPr id="24" name="그룹 23"/>
          <p:cNvGrpSpPr/>
          <p:nvPr/>
        </p:nvGrpSpPr>
        <p:grpSpPr>
          <a:xfrm>
            <a:off x="7738257" y="5529619"/>
            <a:ext cx="1918097" cy="748988"/>
            <a:chOff x="5148064" y="1470610"/>
            <a:chExt cx="1438573" cy="561741"/>
          </a:xfrm>
        </p:grpSpPr>
        <p:sp>
          <p:nvSpPr>
            <p:cNvPr id="25" name="TextBox 24"/>
            <p:cNvSpPr txBox="1"/>
            <p:nvPr/>
          </p:nvSpPr>
          <p:spPr>
            <a:xfrm>
              <a:off x="5148064" y="1470610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5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26" name="직선 연결선 25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5904720" y="1563638"/>
              <a:ext cx="681917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출처 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911424" y="452669"/>
            <a:ext cx="2329484" cy="6667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Contents</a:t>
            </a:r>
            <a:endParaRPr lang="ko-KR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9" name="타원형 설명선 28"/>
          <p:cNvSpPr/>
          <p:nvPr/>
        </p:nvSpPr>
        <p:spPr>
          <a:xfrm>
            <a:off x="143339" y="260648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rgbClr val="F38181"/>
              </a:solidFill>
            </a:endParaRPr>
          </a:p>
        </p:txBody>
      </p:sp>
      <p:grpSp>
        <p:nvGrpSpPr>
          <p:cNvPr id="33" name="그룹 32"/>
          <p:cNvGrpSpPr/>
          <p:nvPr/>
        </p:nvGrpSpPr>
        <p:grpSpPr>
          <a:xfrm>
            <a:off x="3147101" y="260648"/>
            <a:ext cx="452623" cy="288032"/>
            <a:chOff x="6119650" y="1290702"/>
            <a:chExt cx="792088" cy="504056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0" name="타원 29"/>
            <p:cNvSpPr/>
            <p:nvPr/>
          </p:nvSpPr>
          <p:spPr>
            <a:xfrm>
              <a:off x="6119650" y="1650742"/>
              <a:ext cx="144016" cy="14401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31" name="타원 30"/>
            <p:cNvSpPr/>
            <p:nvPr/>
          </p:nvSpPr>
          <p:spPr>
            <a:xfrm>
              <a:off x="6335674" y="1434718"/>
              <a:ext cx="216024" cy="2160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  <p:sp>
          <p:nvSpPr>
            <p:cNvPr id="32" name="타원 31"/>
            <p:cNvSpPr/>
            <p:nvPr/>
          </p:nvSpPr>
          <p:spPr>
            <a:xfrm>
              <a:off x="6623706" y="1290702"/>
              <a:ext cx="288032" cy="2880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/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6970169" y="4473502"/>
            <a:ext cx="3158823" cy="748988"/>
            <a:chOff x="5148064" y="1470610"/>
            <a:chExt cx="2369118" cy="561741"/>
          </a:xfrm>
        </p:grpSpPr>
        <p:sp>
          <p:nvSpPr>
            <p:cNvPr id="21" name="TextBox 20"/>
            <p:cNvSpPr txBox="1"/>
            <p:nvPr/>
          </p:nvSpPr>
          <p:spPr>
            <a:xfrm>
              <a:off x="5148064" y="1470610"/>
              <a:ext cx="70836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4</a:t>
              </a:r>
              <a:endParaRPr lang="ko-KR" altLang="en-US" sz="4267" dirty="0">
                <a:solidFill>
                  <a:srgbClr val="F3818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22" name="직선 연결선 21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5904720" y="1563638"/>
              <a:ext cx="1612462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기능</a:t>
              </a:r>
              <a:r>
                <a:rPr lang="en-US" altLang="ko-KR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</a:t>
              </a:r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구현 방안</a:t>
              </a:r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7738254" y="1316765"/>
            <a:ext cx="3149205" cy="748988"/>
            <a:chOff x="5148064" y="1122879"/>
            <a:chExt cx="2361904" cy="561741"/>
          </a:xfrm>
        </p:grpSpPr>
        <p:sp>
          <p:nvSpPr>
            <p:cNvPr id="5" name="TextBox 4"/>
            <p:cNvSpPr txBox="1"/>
            <p:nvPr/>
          </p:nvSpPr>
          <p:spPr>
            <a:xfrm>
              <a:off x="5148064" y="1122879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1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0" name="직선 연결선 9"/>
            <p:cNvCxnSpPr/>
            <p:nvPr/>
          </p:nvCxnSpPr>
          <p:spPr>
            <a:xfrm>
              <a:off x="5868144" y="1143899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5904720" y="1215907"/>
              <a:ext cx="1605248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프로젝트 개요</a:t>
              </a:r>
            </a:p>
          </p:txBody>
        </p:sp>
      </p:grpSp>
      <p:grpSp>
        <p:nvGrpSpPr>
          <p:cNvPr id="16" name="그룹 15"/>
          <p:cNvGrpSpPr/>
          <p:nvPr/>
        </p:nvGrpSpPr>
        <p:grpSpPr>
          <a:xfrm>
            <a:off x="7738258" y="3513395"/>
            <a:ext cx="2751660" cy="748988"/>
            <a:chOff x="5148064" y="1470610"/>
            <a:chExt cx="2063745" cy="561741"/>
          </a:xfrm>
        </p:grpSpPr>
        <p:sp>
          <p:nvSpPr>
            <p:cNvPr id="17" name="TextBox 16"/>
            <p:cNvSpPr txBox="1"/>
            <p:nvPr/>
          </p:nvSpPr>
          <p:spPr>
            <a:xfrm>
              <a:off x="5148064" y="1470610"/>
              <a:ext cx="660277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3</a:t>
              </a:r>
              <a:endParaRPr lang="ko-KR" altLang="en-US" sz="4267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8" name="직선 연결선 17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5904720" y="1563638"/>
              <a:ext cx="1307089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Menu</a:t>
              </a:r>
              <a:r>
                <a:rPr lang="ko-KR" altLang="en-US" sz="2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 구성</a:t>
              </a:r>
            </a:p>
          </p:txBody>
        </p:sp>
      </p:grpSp>
      <p:grpSp>
        <p:nvGrpSpPr>
          <p:cNvPr id="15" name="그룹 14"/>
          <p:cNvGrpSpPr/>
          <p:nvPr/>
        </p:nvGrpSpPr>
        <p:grpSpPr>
          <a:xfrm>
            <a:off x="6970171" y="2372882"/>
            <a:ext cx="2471134" cy="748988"/>
            <a:chOff x="5148064" y="1470610"/>
            <a:chExt cx="1853351" cy="561741"/>
          </a:xfrm>
        </p:grpSpPr>
        <p:sp>
          <p:nvSpPr>
            <p:cNvPr id="12" name="TextBox 11"/>
            <p:cNvSpPr txBox="1"/>
            <p:nvPr/>
          </p:nvSpPr>
          <p:spPr>
            <a:xfrm>
              <a:off x="5148064" y="1470610"/>
              <a:ext cx="671098" cy="561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ko-KR" sz="4267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02</a:t>
              </a:r>
              <a:endParaRPr lang="ko-KR" altLang="en-US" sz="4267" dirty="0">
                <a:solidFill>
                  <a:srgbClr val="F3818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  <p:cxnSp>
          <p:nvCxnSpPr>
            <p:cNvPr id="13" name="직선 연결선 12"/>
            <p:cNvCxnSpPr/>
            <p:nvPr/>
          </p:nvCxnSpPr>
          <p:spPr>
            <a:xfrm>
              <a:off x="5868144" y="1491630"/>
              <a:ext cx="0" cy="504056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5904720" y="1563638"/>
              <a:ext cx="1096695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2400" dirty="0">
                  <a:solidFill>
                    <a:srgbClr val="F38181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주요 기능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318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071088" y="244934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</a:t>
            </a:r>
            <a:r>
              <a:rPr lang="ko-KR" altLang="en-US" sz="373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의도 </a:t>
            </a:r>
            <a:r>
              <a:rPr lang="ko-KR" altLang="en-US" sz="2667" dirty="0" smtClean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목적 및 필요성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타원형 설명선 7">
            <a:extLst>
              <a:ext uri="{FF2B5EF4-FFF2-40B4-BE49-F238E27FC236}">
                <a16:creationId xmlns:a16="http://schemas.microsoft.com/office/drawing/2014/main" xmlns="" id="{2066C2C1-6D93-4AD0-9E40-39FA39EF2CB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1D576C9-F1F4-4DF9-BCE8-DB9821AA90D6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8577780" y="6371461"/>
            <a:ext cx="2743200" cy="365125"/>
          </a:xfrm>
        </p:spPr>
        <p:txBody>
          <a:bodyPr/>
          <a:lstStyle/>
          <a:p>
            <a:fld id="{BCF18117-6328-4BF6-B483-3F8355306CA5}" type="slidenum">
              <a:rPr lang="ko-KR" altLang="en-US" smtClean="0"/>
              <a:pPr/>
              <a:t>3</a:t>
            </a:fld>
            <a:endParaRPr lang="ko-KR" altLang="en-US"/>
          </a:p>
        </p:txBody>
      </p:sp>
      <p:pic>
        <p:nvPicPr>
          <p:cNvPr id="32" name="그림 3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7218153" y="5382355"/>
            <a:ext cx="3993132" cy="138536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7726032" y="1568780"/>
            <a:ext cx="2422459" cy="9771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1</a:t>
            </a: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인 가구의 증가</a:t>
            </a:r>
            <a:r>
              <a:rPr lang="en-US" altLang="ko-KR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,</a:t>
            </a:r>
          </a:p>
          <a:p>
            <a:pPr marL="342900" indent="-34290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20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식재료 관리 미숙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096933" y="4925146"/>
            <a:ext cx="43508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32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식재료 관리</a:t>
            </a:r>
            <a:r>
              <a:rPr lang="ko-KR" altLang="en-US" sz="240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에 대한 중요성 </a:t>
            </a:r>
          </a:p>
        </p:txBody>
      </p:sp>
      <p:pic>
        <p:nvPicPr>
          <p:cNvPr id="50" name="그림 4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t="48865" r="69271" b="13800"/>
          <a:stretch/>
        </p:blipFill>
        <p:spPr>
          <a:xfrm rot="5400000">
            <a:off x="8357380" y="2821075"/>
            <a:ext cx="1829974" cy="1899721"/>
          </a:xfrm>
          <a:prstGeom prst="rect">
            <a:avLst/>
          </a:prstGeom>
        </p:spPr>
      </p:pic>
      <p:pic>
        <p:nvPicPr>
          <p:cNvPr id="51" name="그림 50" descr="사진, 사람, 다른, 남자이(가) 표시된 사진&#10;&#10;자동 생성된 설명">
            <a:extLst>
              <a:ext uri="{FF2B5EF4-FFF2-40B4-BE49-F238E27FC236}">
                <a16:creationId xmlns:a16="http://schemas.microsoft.com/office/drawing/2014/main" xmlns="" id="{EF817E22-4715-43C6-9097-07D01C4A3A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2" y="1291053"/>
            <a:ext cx="4608477" cy="5424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4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071088" y="244934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의도 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기존 사례 분석 및 비교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grpSp>
        <p:nvGrpSpPr>
          <p:cNvPr id="10" name="그룹 9"/>
          <p:cNvGrpSpPr/>
          <p:nvPr/>
        </p:nvGrpSpPr>
        <p:grpSpPr>
          <a:xfrm>
            <a:off x="437213" y="1650882"/>
            <a:ext cx="3612954" cy="4032089"/>
            <a:chOff x="251520" y="1244000"/>
            <a:chExt cx="2709715" cy="3024066"/>
          </a:xfrm>
        </p:grpSpPr>
        <p:sp>
          <p:nvSpPr>
            <p:cNvPr id="43" name="모서리가 둥근 직사각형 42"/>
            <p:cNvSpPr/>
            <p:nvPr>
              <p:custDataLst>
                <p:tags r:id="rId9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10"/>
              </p:custDataLst>
            </p:nvPr>
          </p:nvSpPr>
          <p:spPr>
            <a:xfrm>
              <a:off x="333235" y="3488435"/>
              <a:ext cx="2628000" cy="73404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dirty="0"/>
                <a:t>국내 </a:t>
              </a:r>
              <a:r>
                <a:rPr lang="en-US" altLang="ko-KR" sz="1600" dirty="0"/>
                <a:t>No.1 </a:t>
              </a:r>
              <a:r>
                <a:rPr lang="ko-KR" altLang="en-US" sz="1600" dirty="0"/>
                <a:t>요리 사이트</a:t>
              </a:r>
              <a:endParaRPr lang="en-US" altLang="ko-KR" sz="1600" dirty="0"/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en-US" altLang="ko-KR" sz="1600" dirty="0"/>
                <a:t>10</a:t>
              </a:r>
              <a:r>
                <a:rPr lang="ko-KR" altLang="en-US" sz="1600" dirty="0"/>
                <a:t>만 개 이상의 관리가 필요한</a:t>
              </a:r>
              <a:r>
                <a:rPr lang="en-US" altLang="ko-KR" sz="1600" dirty="0"/>
                <a:t> </a:t>
              </a:r>
              <a:r>
                <a:rPr lang="ko-KR" altLang="en-US" sz="1600" dirty="0"/>
                <a:t> 레시피 사이트</a:t>
              </a:r>
              <a:endParaRPr lang="en-US" altLang="ko-KR" sz="1600" dirty="0"/>
            </a:p>
          </p:txBody>
        </p:sp>
        <p:sp>
          <p:nvSpPr>
            <p:cNvPr id="52" name="모서리가 둥근 직사각형 51"/>
            <p:cNvSpPr/>
            <p:nvPr>
              <p:custDataLst>
                <p:tags r:id="rId11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만개의 레시피</a:t>
              </a:r>
            </a:p>
          </p:txBody>
        </p:sp>
        <p:sp>
          <p:nvSpPr>
            <p:cNvPr id="53" name="모서리가 둥근 직사각형 52"/>
            <p:cNvSpPr/>
            <p:nvPr>
              <p:custDataLst>
                <p:tags r:id="rId12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1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5" name="그룹 34"/>
          <p:cNvGrpSpPr/>
          <p:nvPr/>
        </p:nvGrpSpPr>
        <p:grpSpPr>
          <a:xfrm>
            <a:off x="4367798" y="1650882"/>
            <a:ext cx="3776134" cy="4032088"/>
            <a:chOff x="251520" y="1244000"/>
            <a:chExt cx="2832100" cy="3024066"/>
          </a:xfrm>
        </p:grpSpPr>
        <p:sp>
          <p:nvSpPr>
            <p:cNvPr id="36" name="모서리가 둥근 직사각형 35"/>
            <p:cNvSpPr/>
            <p:nvPr>
              <p:custDataLst>
                <p:tags r:id="rId5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6"/>
              </p:custDataLst>
            </p:nvPr>
          </p:nvSpPr>
          <p:spPr>
            <a:xfrm>
              <a:off x="455620" y="3488436"/>
              <a:ext cx="2628000" cy="73404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dirty="0"/>
                <a:t> 취향을 분석하여 그에 맞는 레시피를 추천</a:t>
              </a:r>
              <a:endParaRPr lang="en-US" altLang="ko-KR" sz="1600" dirty="0"/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내가 가진 재료로 레시피 추천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38" name="모서리가 둥근 직사각형 37"/>
            <p:cNvSpPr/>
            <p:nvPr>
              <p:custDataLst>
                <p:tags r:id="rId7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 err="1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해먹남녀</a:t>
              </a:r>
              <a:r>
                <a:rPr lang="ko-KR" altLang="en-US" sz="2000" spc="-133" dirty="0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  </a:t>
              </a:r>
            </a:p>
          </p:txBody>
        </p:sp>
        <p:sp>
          <p:nvSpPr>
            <p:cNvPr id="39" name="모서리가 둥근 직사각형 38"/>
            <p:cNvSpPr/>
            <p:nvPr>
              <p:custDataLst>
                <p:tags r:id="rId8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2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8383970" y="1658667"/>
            <a:ext cx="3759311" cy="4032088"/>
            <a:chOff x="251520" y="1244000"/>
            <a:chExt cx="2819483" cy="3024066"/>
          </a:xfrm>
        </p:grpSpPr>
        <p:sp>
          <p:nvSpPr>
            <p:cNvPr id="41" name="모서리가 둥근 직사각형 40"/>
            <p:cNvSpPr/>
            <p:nvPr>
              <p:custDataLst>
                <p:tags r:id="rId1"/>
              </p:custDataLst>
            </p:nvPr>
          </p:nvSpPr>
          <p:spPr>
            <a:xfrm>
              <a:off x="251520" y="1388066"/>
              <a:ext cx="2700000" cy="2880000"/>
            </a:xfrm>
            <a:prstGeom prst="roundRect">
              <a:avLst>
                <a:gd name="adj" fmla="val 9369"/>
              </a:avLst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ko-KR" altLang="en-US" sz="1867" spc="-133" dirty="0">
                <a:solidFill>
                  <a:srgbClr val="595241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2" name="TextBox 41"/>
            <p:cNvSpPr txBox="1"/>
            <p:nvPr>
              <p:custDataLst>
                <p:tags r:id="rId2"/>
              </p:custDataLst>
            </p:nvPr>
          </p:nvSpPr>
          <p:spPr>
            <a:xfrm>
              <a:off x="443003" y="3580917"/>
              <a:ext cx="2628000" cy="48898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자취생들을 위한 저렴한 레시피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  <a:p>
              <a:pPr marL="228594" indent="-228594" latinLnBrk="0">
                <a:lnSpc>
                  <a:spcPct val="120000"/>
                </a:lnSpc>
                <a:buFont typeface="Wingdings" panose="05000000000000000000" pitchFamily="2" charset="2"/>
                <a:buChar char="§"/>
              </a:pPr>
              <a:r>
                <a:rPr lang="ko-KR" altLang="en-US" sz="1600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상대적으로 적은 양의 레시피</a:t>
              </a:r>
              <a:endParaRPr lang="en-US" altLang="ko-KR" sz="1600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5" name="모서리가 둥근 직사각형 44"/>
            <p:cNvSpPr/>
            <p:nvPr>
              <p:custDataLst>
                <p:tags r:id="rId3"/>
              </p:custDataLst>
            </p:nvPr>
          </p:nvSpPr>
          <p:spPr>
            <a:xfrm>
              <a:off x="579268" y="1244000"/>
              <a:ext cx="2088232" cy="318638"/>
            </a:xfrm>
            <a:prstGeom prst="roundRect">
              <a:avLst>
                <a:gd name="adj" fmla="val 12333"/>
              </a:avLst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indent="364058" algn="ctr"/>
              <a:r>
                <a:rPr lang="ko-KR" altLang="en-US" sz="2000" spc="-133" dirty="0" err="1">
                  <a:solidFill>
                    <a:prstClr val="white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이밥차</a:t>
              </a:r>
              <a:endParaRPr lang="ko-KR" altLang="en-US" sz="2000" spc="-133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  <p:sp>
          <p:nvSpPr>
            <p:cNvPr id="46" name="모서리가 둥근 직사각형 45"/>
            <p:cNvSpPr/>
            <p:nvPr>
              <p:custDataLst>
                <p:tags r:id="rId4"/>
              </p:custDataLst>
            </p:nvPr>
          </p:nvSpPr>
          <p:spPr>
            <a:xfrm>
              <a:off x="603018" y="1275864"/>
              <a:ext cx="288000" cy="254910"/>
            </a:xfrm>
            <a:prstGeom prst="roundRect">
              <a:avLst>
                <a:gd name="adj" fmla="val 2552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cene3d>
                <a:camera prst="orthographicFront"/>
                <a:lightRig rig="threePt" dir="t"/>
              </a:scene3d>
              <a:sp3d extrusionH="57150">
                <a:bevelT w="69850" h="38100" prst="cross"/>
              </a:sp3d>
            </a:bodyPr>
            <a:lstStyle/>
            <a:p>
              <a:pPr algn="ctr"/>
              <a:r>
                <a:rPr lang="en-US" altLang="ko-KR" sz="1867" spc="-133" dirty="0">
                  <a:solidFill>
                    <a:prstClr val="black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  <a:cs typeface="조선일보명조" pitchFamily="18" charset="-127"/>
                </a:rPr>
                <a:t>3</a:t>
              </a:r>
              <a:endParaRPr lang="ko-KR" altLang="en-US" sz="1867" spc="-1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  <a:cs typeface="조선일보명조" pitchFamily="18" charset="-127"/>
              </a:endParaRPr>
            </a:p>
          </p:txBody>
        </p:sp>
      </p:grpSp>
      <p:pic>
        <p:nvPicPr>
          <p:cNvPr id="47" name="그림 46"/>
          <p:cNvPicPr/>
          <p:nvPr/>
        </p:nvPicPr>
        <p:blipFill>
          <a:blip r:embed="rId14"/>
          <a:stretch>
            <a:fillRect/>
          </a:stretch>
        </p:blipFill>
        <p:spPr>
          <a:xfrm>
            <a:off x="4663407" y="2182850"/>
            <a:ext cx="3094369" cy="2464467"/>
          </a:xfrm>
          <a:prstGeom prst="rect">
            <a:avLst/>
          </a:prstGeom>
        </p:spPr>
      </p:pic>
      <p:pic>
        <p:nvPicPr>
          <p:cNvPr id="48" name="그림 47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872" y="2118218"/>
            <a:ext cx="3238500" cy="2656338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756" y="2168345"/>
            <a:ext cx="3169244" cy="2400316"/>
          </a:xfrm>
          <a:prstGeom prst="rect">
            <a:avLst/>
          </a:prstGeom>
        </p:spPr>
      </p:pic>
      <p:sp>
        <p:nvSpPr>
          <p:cNvPr id="27" name="타원형 설명선 7">
            <a:extLst>
              <a:ext uri="{FF2B5EF4-FFF2-40B4-BE49-F238E27FC236}">
                <a16:creationId xmlns:a16="http://schemas.microsoft.com/office/drawing/2014/main" xmlns="" id="{2066C2C1-6D93-4AD0-9E40-39FA39EF2CBF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1D576C9-F1F4-4DF9-BCE8-DB9821AA90D6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883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모서리가 둥근 직사각형 3"/>
          <p:cNvSpPr/>
          <p:nvPr/>
        </p:nvSpPr>
        <p:spPr>
          <a:xfrm>
            <a:off x="1259631" y="1486161"/>
            <a:ext cx="9555861" cy="5051389"/>
          </a:xfrm>
          <a:prstGeom prst="roundRect">
            <a:avLst>
              <a:gd name="adj" fmla="val 16667"/>
            </a:avLst>
          </a:prstGeom>
          <a:solidFill>
            <a:srgbClr val="9DB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ko-KR" altLang="en-US"/>
            </a:pPr>
            <a:endParaRPr lang="en-US" altLang="ko-KR" sz="3400" b="1" dirty="0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427567" y="343161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>
          <a:xfrm>
            <a:off x="1114354" y="167705"/>
            <a:ext cx="8587368" cy="1143000"/>
          </a:xfrm>
        </p:spPr>
        <p:txBody>
          <a:bodyPr/>
          <a:lstStyle/>
          <a:p>
            <a:pPr algn="l"/>
            <a:r>
              <a:rPr lang="ko-KR" altLang="en-US" sz="3730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프로젝트 의도 </a:t>
            </a:r>
            <a:r>
              <a:rPr lang="en-US" altLang="ko-KR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Target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분석</a:t>
            </a:r>
            <a:endParaRPr lang="ko-KR" altLang="en-US" sz="2667" dirty="0">
              <a:solidFill>
                <a:schemeClr val="tx1">
                  <a:lumMod val="85000"/>
                  <a:lumOff val="15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064" name="AutoShape 16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6" name="AutoShape 18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2068" name="AutoShape 20" descr="iconico, timer, velocity icon"/>
          <p:cNvSpPr>
            <a:spLocks noChangeAspect="1" noChangeArrowheads="1"/>
          </p:cNvSpPr>
          <p:nvPr/>
        </p:nvSpPr>
        <p:spPr bwMode="auto">
          <a:xfrm>
            <a:off x="224367" y="-192617"/>
            <a:ext cx="406400" cy="4064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ko-KR" altLang="en-US" sz="2400"/>
          </a:p>
        </p:txBody>
      </p:sp>
      <p:sp>
        <p:nvSpPr>
          <p:cNvPr id="34" name="타원형 설명선 33"/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1" name="TextBox 30"/>
          <p:cNvSpPr txBox="1"/>
          <p:nvPr/>
        </p:nvSpPr>
        <p:spPr>
          <a:xfrm>
            <a:off x="101174" y="76418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사각형: 둥근 모서리 9">
            <a:extLst>
              <a:ext uri="{FF2B5EF4-FFF2-40B4-BE49-F238E27FC236}">
                <a16:creationId xmlns:a16="http://schemas.microsoft.com/office/drawing/2014/main" xmlns="" id="{D4A2EB62-427E-448D-95E0-4F74CD582B4C}"/>
              </a:ext>
            </a:extLst>
          </p:cNvPr>
          <p:cNvSpPr/>
          <p:nvPr/>
        </p:nvSpPr>
        <p:spPr>
          <a:xfrm>
            <a:off x="303443" y="400727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557FC877-1DF9-4CB7-8C2C-A5870AFF2A07}"/>
              </a:ext>
            </a:extLst>
          </p:cNvPr>
          <p:cNvSpPr txBox="1"/>
          <p:nvPr/>
        </p:nvSpPr>
        <p:spPr>
          <a:xfrm>
            <a:off x="472518" y="4414593"/>
            <a:ext cx="9104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Y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사각형: 둥근 모서리 9">
            <a:extLst>
              <a:ext uri="{FF2B5EF4-FFF2-40B4-BE49-F238E27FC236}">
                <a16:creationId xmlns:a16="http://schemas.microsoft.com/office/drawing/2014/main" xmlns="" id="{D4A2EB62-427E-448D-95E0-4F74CD582B4C}"/>
              </a:ext>
            </a:extLst>
          </p:cNvPr>
          <p:cNvSpPr/>
          <p:nvPr/>
        </p:nvSpPr>
        <p:spPr>
          <a:xfrm>
            <a:off x="6278583" y="289743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557FC877-1DF9-4CB7-8C2C-A5870AFF2A07}"/>
              </a:ext>
            </a:extLst>
          </p:cNvPr>
          <p:cNvSpPr txBox="1"/>
          <p:nvPr/>
        </p:nvSpPr>
        <p:spPr>
          <a:xfrm>
            <a:off x="6444618" y="3350920"/>
            <a:ext cx="107145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AT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사각형: 둥근 모서리 9">
            <a:extLst>
              <a:ext uri="{FF2B5EF4-FFF2-40B4-BE49-F238E27FC236}">
                <a16:creationId xmlns:a16="http://schemas.microsoft.com/office/drawing/2014/main" xmlns="" id="{D4A2EB62-427E-448D-95E0-4F74CD582B4C}"/>
              </a:ext>
            </a:extLst>
          </p:cNvPr>
          <p:cNvSpPr/>
          <p:nvPr/>
        </p:nvSpPr>
        <p:spPr>
          <a:xfrm>
            <a:off x="6278583" y="4751621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557FC877-1DF9-4CB7-8C2C-A5870AFF2A07}"/>
              </a:ext>
            </a:extLst>
          </p:cNvPr>
          <p:cNvSpPr txBox="1"/>
          <p:nvPr/>
        </p:nvSpPr>
        <p:spPr>
          <a:xfrm>
            <a:off x="6445132" y="5171769"/>
            <a:ext cx="955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OW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EF0490A-45CD-47FB-B9ED-A6AA0891A589}"/>
              </a:ext>
            </a:extLst>
          </p:cNvPr>
          <p:cNvSpPr txBox="1"/>
          <p:nvPr/>
        </p:nvSpPr>
        <p:spPr>
          <a:xfrm>
            <a:off x="7336382" y="5035834"/>
            <a:ext cx="42441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나의 냉장고 속 재료로 활용 할 수 있는 음식 만들기</a:t>
            </a:r>
          </a:p>
        </p:txBody>
      </p:sp>
      <p:sp>
        <p:nvSpPr>
          <p:cNvPr id="61" name="사각형: 둥근 모서리 9">
            <a:extLst>
              <a:ext uri="{FF2B5EF4-FFF2-40B4-BE49-F238E27FC236}">
                <a16:creationId xmlns:a16="http://schemas.microsoft.com/office/drawing/2014/main" xmlns="" id="{D4A2EB62-427E-448D-95E0-4F74CD582B4C}"/>
              </a:ext>
            </a:extLst>
          </p:cNvPr>
          <p:cNvSpPr/>
          <p:nvPr/>
        </p:nvSpPr>
        <p:spPr>
          <a:xfrm>
            <a:off x="346899" y="1978290"/>
            <a:ext cx="5636103" cy="1276313"/>
          </a:xfrm>
          <a:prstGeom prst="roundRect">
            <a:avLst/>
          </a:prstGeom>
          <a:solidFill>
            <a:srgbClr val="E4E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57FC877-1DF9-4CB7-8C2C-A5870AFF2A07}"/>
              </a:ext>
            </a:extLst>
          </p:cNvPr>
          <p:cNvSpPr txBox="1"/>
          <p:nvPr/>
        </p:nvSpPr>
        <p:spPr>
          <a:xfrm>
            <a:off x="456018" y="2447169"/>
            <a:ext cx="1102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b="1" spc="-150" dirty="0">
                <a:solidFill>
                  <a:srgbClr val="D082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HO</a:t>
            </a:r>
            <a:endParaRPr lang="ko-KR" altLang="en-US" sz="2400" b="1" spc="-150" dirty="0">
              <a:solidFill>
                <a:srgbClr val="D0828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AEF0490A-45CD-47FB-B9ED-A6AA0891A589}"/>
              </a:ext>
            </a:extLst>
          </p:cNvPr>
          <p:cNvSpPr txBox="1"/>
          <p:nvPr/>
        </p:nvSpPr>
        <p:spPr>
          <a:xfrm>
            <a:off x="1667849" y="2447169"/>
            <a:ext cx="44305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냉장고 관리에 고통받는 현대인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EF0490A-45CD-47FB-B9ED-A6AA0891A589}"/>
              </a:ext>
            </a:extLst>
          </p:cNvPr>
          <p:cNvSpPr txBox="1"/>
          <p:nvPr/>
        </p:nvSpPr>
        <p:spPr>
          <a:xfrm>
            <a:off x="7516069" y="3166254"/>
            <a:ext cx="3884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효율적인 냉장고 관리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매 끼니를 챙겨주는 효율적인 웹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  <a:p>
            <a:endParaRPr lang="ko-KR" altLang="en-US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AEF0490A-45CD-47FB-B9ED-A6AA0891A589}"/>
              </a:ext>
            </a:extLst>
          </p:cNvPr>
          <p:cNvSpPr txBox="1"/>
          <p:nvPr/>
        </p:nvSpPr>
        <p:spPr>
          <a:xfrm>
            <a:off x="1552458" y="4413414"/>
            <a:ext cx="44305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>
                <a:solidFill>
                  <a:srgbClr val="625772"/>
                </a:solidFill>
                <a:latin typeface="HY엽서M" panose="02030600000101010101" pitchFamily="18" charset="-127"/>
                <a:ea typeface="HY엽서M" panose="02030600000101010101" pitchFamily="18" charset="-127"/>
              </a:rPr>
              <a:t>냉장고 속 많은 재료를 두고 더 이상  무엇을 먹을 지 고민하지 않기 위해</a:t>
            </a:r>
            <a:endParaRPr lang="en-US" altLang="ko-KR" sz="2000" dirty="0">
              <a:solidFill>
                <a:srgbClr val="625772"/>
              </a:solidFill>
              <a:latin typeface="HY엽서M" panose="02030600000101010101" pitchFamily="18" charset="-127"/>
              <a:ea typeface="HY엽서M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02386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모서리가 둥근 직사각형 5">
            <a:extLst>
              <a:ext uri="{FF2B5EF4-FFF2-40B4-BE49-F238E27FC236}">
                <a16:creationId xmlns:a16="http://schemas.microsoft.com/office/drawing/2014/main" xmlns="" id="{BF8C51B4-391E-4DB0-A193-12E330EDEE10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-48682" y="68627"/>
            <a:ext cx="8899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제목 3"/>
          <p:cNvSpPr txBox="1">
            <a:spLocks/>
          </p:cNvSpPr>
          <p:nvPr/>
        </p:nvSpPr>
        <p:spPr>
          <a:xfrm>
            <a:off x="924233" y="322655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r>
              <a:rPr lang="ko-KR" altLang="en-US" sz="3733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chemeClr val="accent1">
                    <a:lumMod val="50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시스템 전체 구조</a:t>
            </a:r>
            <a:endParaRPr lang="ko-KR" altLang="en-US" sz="3733" dirty="0"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pSp>
        <p:nvGrpSpPr>
          <p:cNvPr id="43" name="그룹 42">
            <a:extLst>
              <a:ext uri="{FF2B5EF4-FFF2-40B4-BE49-F238E27FC236}">
                <a16:creationId xmlns:a16="http://schemas.microsoft.com/office/drawing/2014/main" xmlns="" id="{1C481EAE-4A25-4414-B781-18CF1858F1F7}"/>
              </a:ext>
            </a:extLst>
          </p:cNvPr>
          <p:cNvGrpSpPr/>
          <p:nvPr/>
        </p:nvGrpSpPr>
        <p:grpSpPr>
          <a:xfrm>
            <a:off x="9713288" y="2756924"/>
            <a:ext cx="2082375" cy="2132315"/>
            <a:chOff x="548246" y="2984360"/>
            <a:chExt cx="1599236" cy="1599236"/>
          </a:xfrm>
        </p:grpSpPr>
        <p:grpSp>
          <p:nvGrpSpPr>
            <p:cNvPr id="44" name="그룹 43">
              <a:extLst>
                <a:ext uri="{FF2B5EF4-FFF2-40B4-BE49-F238E27FC236}">
                  <a16:creationId xmlns:a16="http://schemas.microsoft.com/office/drawing/2014/main" xmlns="" id="{C322821F-B3EC-49E0-A9AF-B0B2893044FF}"/>
                </a:ext>
              </a:extLst>
            </p:cNvPr>
            <p:cNvGrpSpPr/>
            <p:nvPr/>
          </p:nvGrpSpPr>
          <p:grpSpPr>
            <a:xfrm>
              <a:off x="548246" y="2984360"/>
              <a:ext cx="1599236" cy="1599236"/>
              <a:chOff x="1145892" y="2667000"/>
              <a:chExt cx="1599236" cy="1599236"/>
            </a:xfrm>
          </p:grpSpPr>
          <p:sp>
            <p:nvSpPr>
              <p:cNvPr id="55" name="타원 54">
                <a:extLst>
                  <a:ext uri="{FF2B5EF4-FFF2-40B4-BE49-F238E27FC236}">
                    <a16:creationId xmlns:a16="http://schemas.microsoft.com/office/drawing/2014/main" xmlns="" id="{25D38217-3324-4716-8147-3594E40766AA}"/>
                  </a:ext>
                </a:extLst>
              </p:cNvPr>
              <p:cNvSpPr/>
              <p:nvPr/>
            </p:nvSpPr>
            <p:spPr>
              <a:xfrm>
                <a:off x="1226916" y="2743200"/>
                <a:ext cx="1446836" cy="1446836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b="1" dirty="0">
                  <a:solidFill>
                    <a:srgbClr val="F3818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56" name="타원 55">
                <a:extLst>
                  <a:ext uri="{FF2B5EF4-FFF2-40B4-BE49-F238E27FC236}">
                    <a16:creationId xmlns:a16="http://schemas.microsoft.com/office/drawing/2014/main" xmlns="" id="{334FB759-FB27-49A7-92ED-74C7E5F01C5E}"/>
                  </a:ext>
                </a:extLst>
              </p:cNvPr>
              <p:cNvSpPr/>
              <p:nvPr/>
            </p:nvSpPr>
            <p:spPr>
              <a:xfrm>
                <a:off x="1145892" y="2667000"/>
                <a:ext cx="1599236" cy="1599236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400" b="1" dirty="0">
                  <a:solidFill>
                    <a:srgbClr val="1C2D9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12849537-08F7-441F-97B3-4DA2B8193A65}"/>
                </a:ext>
              </a:extLst>
            </p:cNvPr>
            <p:cNvSpPr txBox="1"/>
            <p:nvPr/>
          </p:nvSpPr>
          <p:spPr>
            <a:xfrm>
              <a:off x="916921" y="3368030"/>
              <a:ext cx="891252" cy="9002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최적의 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레시피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  <a:p>
              <a:pPr algn="ctr"/>
              <a:r>
                <a:rPr lang="ko-KR" altLang="en-US" sz="2400" dirty="0">
                  <a:solidFill>
                    <a:srgbClr val="625772"/>
                  </a:solidFill>
                  <a:latin typeface="배달의민족 도현" panose="020B0600000101010101" pitchFamily="50" charset="-127"/>
                  <a:ea typeface="배달의민족 도현" panose="020B0600000101010101" pitchFamily="50" charset="-127"/>
                </a:rPr>
                <a:t>추천</a:t>
              </a:r>
              <a:endParaRPr lang="en-US" altLang="ko-KR" sz="2400" dirty="0">
                <a:solidFill>
                  <a:srgbClr val="625772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endParaRPr>
            </a:p>
          </p:txBody>
        </p:sp>
      </p:grpSp>
      <p:cxnSp>
        <p:nvCxnSpPr>
          <p:cNvPr id="57" name="直接连接符 4">
            <a:extLst>
              <a:ext uri="{FF2B5EF4-FFF2-40B4-BE49-F238E27FC236}">
                <a16:creationId xmlns:a16="http://schemas.microsoft.com/office/drawing/2014/main" xmlns="" id="{38952B67-4AE6-4495-B60F-AAF1216E1B0B}"/>
              </a:ext>
            </a:extLst>
          </p:cNvPr>
          <p:cNvCxnSpPr/>
          <p:nvPr/>
        </p:nvCxnSpPr>
        <p:spPr>
          <a:xfrm>
            <a:off x="7829834" y="1405514"/>
            <a:ext cx="24832" cy="523335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>
            <a:extLst>
              <a:ext uri="{FF2B5EF4-FFF2-40B4-BE49-F238E27FC236}">
                <a16:creationId xmlns:a16="http://schemas.microsoft.com/office/drawing/2014/main" xmlns="" id="{CF3D28E0-E61D-42F6-A4AB-E20382FBDDF8}"/>
              </a:ext>
            </a:extLst>
          </p:cNvPr>
          <p:cNvSpPr/>
          <p:nvPr/>
        </p:nvSpPr>
        <p:spPr>
          <a:xfrm>
            <a:off x="-230100" y="2603036"/>
            <a:ext cx="48995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냉장고에 있는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재료를 한 눈에 확인</a:t>
            </a:r>
            <a:r>
              <a:rPr lang="en-US" altLang="ko-KR" sz="1600" b="1" spc="-150" dirty="0">
                <a:latin typeface="+mn-ea"/>
              </a:rPr>
              <a:t>.</a:t>
            </a:r>
            <a:br>
              <a:rPr lang="en-US" altLang="ko-KR" sz="1600" b="1" spc="-150" dirty="0">
                <a:latin typeface="+mn-ea"/>
              </a:rPr>
            </a:br>
            <a:r>
              <a:rPr lang="ko-KR" altLang="en-US" sz="1600" b="1" spc="-150" dirty="0">
                <a:latin typeface="+mn-ea"/>
              </a:rPr>
              <a:t>원하는 재료로 다양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레시피 추천 및 검색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xmlns="" id="{69FE26A5-1BD5-440D-83E0-2041FCC2C69C}"/>
              </a:ext>
            </a:extLst>
          </p:cNvPr>
          <p:cNvSpPr/>
          <p:nvPr/>
        </p:nvSpPr>
        <p:spPr>
          <a:xfrm>
            <a:off x="8370558" y="3823083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xmlns="" id="{3B62E93F-A605-43E5-9B6A-F7AD487E92A2}"/>
              </a:ext>
            </a:extLst>
          </p:cNvPr>
          <p:cNvSpPr/>
          <p:nvPr/>
        </p:nvSpPr>
        <p:spPr>
          <a:xfrm>
            <a:off x="8569288" y="3823082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xmlns="" id="{2FA6F8C6-F2D5-45AE-93E9-69EF7ECBA9BB}"/>
              </a:ext>
            </a:extLst>
          </p:cNvPr>
          <p:cNvSpPr/>
          <p:nvPr/>
        </p:nvSpPr>
        <p:spPr>
          <a:xfrm>
            <a:off x="8768019" y="3823083"/>
            <a:ext cx="59617" cy="60957"/>
          </a:xfrm>
          <a:prstGeom prst="ellipse">
            <a:avLst/>
          </a:prstGeom>
          <a:solidFill>
            <a:srgbClr val="6257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xmlns="" id="{FA74BC79-9169-48B2-98A6-37EF672DA509}"/>
              </a:ext>
            </a:extLst>
          </p:cNvPr>
          <p:cNvCxnSpPr>
            <a:cxnSpLocks/>
          </p:cNvCxnSpPr>
          <p:nvPr/>
        </p:nvCxnSpPr>
        <p:spPr>
          <a:xfrm>
            <a:off x="8946621" y="3268486"/>
            <a:ext cx="576064" cy="608905"/>
          </a:xfrm>
          <a:prstGeom prst="line">
            <a:avLst/>
          </a:prstGeom>
          <a:ln w="38100"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xmlns="" id="{A8C887B4-8484-4D96-A670-21EFCCEBE9A7}"/>
              </a:ext>
            </a:extLst>
          </p:cNvPr>
          <p:cNvCxnSpPr>
            <a:cxnSpLocks/>
          </p:cNvCxnSpPr>
          <p:nvPr/>
        </p:nvCxnSpPr>
        <p:spPr>
          <a:xfrm flipH="1">
            <a:off x="9049402" y="3853560"/>
            <a:ext cx="461827" cy="639384"/>
          </a:xfrm>
          <a:prstGeom prst="line">
            <a:avLst/>
          </a:prstGeom>
          <a:ln w="38100">
            <a:solidFill>
              <a:srgbClr val="6257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모서리가 둥근 직사각형 5">
            <a:extLst>
              <a:ext uri="{FF2B5EF4-FFF2-40B4-BE49-F238E27FC236}">
                <a16:creationId xmlns:a16="http://schemas.microsoft.com/office/drawing/2014/main" xmlns="" id="{0735EE97-22E8-4BF6-98D5-DD02E712A38D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21" name="타원형 설명선 7">
            <a:extLst>
              <a:ext uri="{FF2B5EF4-FFF2-40B4-BE49-F238E27FC236}">
                <a16:creationId xmlns:a16="http://schemas.microsoft.com/office/drawing/2014/main" xmlns="" id="{48345239-8094-4DAB-9FEF-F4B65271D34C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B950E88-9A68-499B-A3A3-820C1BD78719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2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제목 3">
            <a:extLst>
              <a:ext uri="{FF2B5EF4-FFF2-40B4-BE49-F238E27FC236}">
                <a16:creationId xmlns:a16="http://schemas.microsoft.com/office/drawing/2014/main" xmlns="" id="{FE890380-BFD0-476B-8BA3-4CB4DDA4A362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xmlns="" id="{DA384C5B-0D28-458C-909F-6780233EF249}"/>
              </a:ext>
            </a:extLst>
          </p:cNvPr>
          <p:cNvSpPr/>
          <p:nvPr/>
        </p:nvSpPr>
        <p:spPr>
          <a:xfrm>
            <a:off x="4762405" y="2512103"/>
            <a:ext cx="27066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난이도</a:t>
            </a:r>
            <a:r>
              <a:rPr lang="en-US" altLang="ko-KR" sz="1600" b="1" spc="-150" dirty="0">
                <a:latin typeface="+mn-ea"/>
              </a:rPr>
              <a:t>&amp;</a:t>
            </a:r>
            <a:r>
              <a:rPr lang="ko-KR" altLang="en-US" sz="1600" b="1" spc="-150" dirty="0">
                <a:latin typeface="+mn-ea"/>
              </a:rPr>
              <a:t>상황에 맞게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원하는 </a:t>
            </a:r>
            <a:r>
              <a:rPr lang="ko-KR" altLang="en-US" sz="1600" b="1" spc="-150" dirty="0" err="1">
                <a:solidFill>
                  <a:srgbClr val="F54545"/>
                </a:solidFill>
                <a:latin typeface="+mn-ea"/>
              </a:rPr>
              <a:t>테마별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 레시피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검색 및 공유</a:t>
            </a:r>
            <a:endParaRPr lang="en-US" altLang="ko-KR" sz="1600" b="1" spc="-150" dirty="0">
              <a:latin typeface="+mn-ea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xmlns="" id="{9CE9F409-9486-4956-A9D4-9E48499992A7}"/>
              </a:ext>
            </a:extLst>
          </p:cNvPr>
          <p:cNvSpPr/>
          <p:nvPr/>
        </p:nvSpPr>
        <p:spPr>
          <a:xfrm>
            <a:off x="719484" y="4720348"/>
            <a:ext cx="27066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레시피</a:t>
            </a:r>
            <a:r>
              <a:rPr lang="en-US" altLang="ko-KR" sz="1600" b="1" spc="-150" dirty="0">
                <a:latin typeface="+mn-ea"/>
              </a:rPr>
              <a:t>, </a:t>
            </a:r>
            <a:r>
              <a:rPr lang="ko-KR" altLang="en-US" sz="1600" b="1" spc="-150" dirty="0">
                <a:latin typeface="+mn-ea"/>
              </a:rPr>
              <a:t>위치 기반으로</a:t>
            </a:r>
            <a:r>
              <a:rPr lang="en-US" altLang="ko-KR" sz="1600" b="1" spc="-150" dirty="0">
                <a:latin typeface="+mn-ea"/>
              </a:rPr>
              <a:t/>
            </a:r>
            <a:br>
              <a:rPr lang="en-US" altLang="ko-KR" sz="1600" b="1" spc="-150" dirty="0">
                <a:latin typeface="+mn-ea"/>
              </a:rPr>
            </a:br>
            <a:r>
              <a:rPr lang="ko-KR" altLang="en-US" sz="1600" b="1" spc="-150" dirty="0">
                <a:latin typeface="+mn-ea"/>
              </a:rPr>
              <a:t>모범 식당</a:t>
            </a:r>
            <a:r>
              <a:rPr lang="en-US" altLang="ko-KR" sz="1600" b="1" spc="-150" dirty="0">
                <a:latin typeface="+mn-ea"/>
              </a:rPr>
              <a:t>, </a:t>
            </a:r>
            <a:r>
              <a:rPr lang="ko-KR" altLang="en-US" sz="1600" b="1" spc="-150" dirty="0">
                <a:latin typeface="+mn-ea"/>
              </a:rPr>
              <a:t>정보를</a:t>
            </a:r>
            <a:r>
              <a:rPr lang="en-US" altLang="ko-KR" sz="1600" b="1" spc="-150" dirty="0">
                <a:latin typeface="+mn-ea"/>
              </a:rPr>
              <a:t> </a:t>
            </a:r>
            <a:r>
              <a:rPr lang="ko-KR" altLang="en-US" sz="1600" b="1" spc="-150" dirty="0">
                <a:latin typeface="+mn-ea"/>
              </a:rPr>
              <a:t>통해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적합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식당 추천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xmlns="" id="{3D36D807-67D4-46AF-9F1A-5BB79E7F1193}"/>
              </a:ext>
            </a:extLst>
          </p:cNvPr>
          <p:cNvSpPr/>
          <p:nvPr/>
        </p:nvSpPr>
        <p:spPr>
          <a:xfrm>
            <a:off x="4173427" y="4596804"/>
            <a:ext cx="39373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먹은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음식을 기록</a:t>
            </a:r>
            <a:r>
              <a:rPr lang="ko-KR" altLang="en-US" sz="1600" b="1" spc="-150" dirty="0">
                <a:latin typeface="+mn-ea"/>
              </a:rPr>
              <a:t>하고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latin typeface="+mn-ea"/>
              </a:rPr>
              <a:t>칼로리와 운동량을 비교</a:t>
            </a:r>
            <a:r>
              <a:rPr lang="en-US" altLang="ko-KR" sz="1600" b="1" spc="-150" dirty="0">
                <a:latin typeface="+mn-ea"/>
              </a:rPr>
              <a:t/>
            </a:r>
            <a:br>
              <a:rPr lang="en-US" altLang="ko-KR" sz="1600" b="1" spc="-150" dirty="0">
                <a:latin typeface="+mn-ea"/>
              </a:rPr>
            </a:br>
            <a:r>
              <a:rPr lang="en-US" altLang="ko-KR" sz="1600" b="1" spc="-150" dirty="0">
                <a:latin typeface="+mn-ea"/>
              </a:rPr>
              <a:t>=&gt; </a:t>
            </a:r>
            <a:r>
              <a:rPr lang="ko-KR" altLang="en-US" sz="1600" b="1" spc="-150" dirty="0">
                <a:latin typeface="+mn-ea"/>
              </a:rPr>
              <a:t>부족한 </a:t>
            </a:r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칼로리 섭취 및 운동 권장</a:t>
            </a:r>
            <a:endParaRPr lang="en-US" altLang="ko-KR" sz="1600" b="1" spc="-150" dirty="0">
              <a:solidFill>
                <a:srgbClr val="F54545"/>
              </a:solidFill>
              <a:latin typeface="+mn-ea"/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xmlns="" id="{A34A7B8C-2307-4CF9-B94F-A1EC39EAF910}"/>
              </a:ext>
            </a:extLst>
          </p:cNvPr>
          <p:cNvSpPr/>
          <p:nvPr/>
        </p:nvSpPr>
        <p:spPr>
          <a:xfrm>
            <a:off x="2238759" y="6166897"/>
            <a:ext cx="30342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o-KR" altLang="en-US" sz="1600" b="1" spc="-150" dirty="0">
                <a:latin typeface="+mn-ea"/>
              </a:rPr>
              <a:t>접속한 사용자끼리</a:t>
            </a:r>
            <a:endParaRPr lang="en-US" altLang="ko-KR" sz="1600" b="1" spc="-150" dirty="0">
              <a:latin typeface="+mn-ea"/>
            </a:endParaRPr>
          </a:p>
          <a:p>
            <a:pPr algn="ctr"/>
            <a:r>
              <a:rPr lang="ko-KR" altLang="en-US" sz="1600" b="1" spc="-150" dirty="0">
                <a:solidFill>
                  <a:srgbClr val="F54545"/>
                </a:solidFill>
                <a:latin typeface="+mn-ea"/>
              </a:rPr>
              <a:t>채팅</a:t>
            </a:r>
            <a:r>
              <a:rPr lang="ko-KR" altLang="en-US" sz="1600" b="1" spc="-150" dirty="0">
                <a:latin typeface="+mn-ea"/>
              </a:rPr>
              <a:t>을 통해 레시피 공유</a:t>
            </a:r>
          </a:p>
        </p:txBody>
      </p:sp>
      <p:pic>
        <p:nvPicPr>
          <p:cNvPr id="4" name="그림 3" descr="그리기이(가) 표시된 사진&#10;&#10;자동 생성된 설명">
            <a:extLst>
              <a:ext uri="{FF2B5EF4-FFF2-40B4-BE49-F238E27FC236}">
                <a16:creationId xmlns:a16="http://schemas.microsoft.com/office/drawing/2014/main" xmlns="" id="{3BEAEB1F-815D-42E0-8E5D-6041FF8FCF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858" y="5424328"/>
            <a:ext cx="742569" cy="742569"/>
          </a:xfrm>
          <a:prstGeom prst="rect">
            <a:avLst/>
          </a:prstGeom>
        </p:spPr>
      </p:pic>
      <p:pic>
        <p:nvPicPr>
          <p:cNvPr id="6" name="그림 5" descr="그리기이(가) 표시된 사진&#10;&#10;자동 생성된 설명">
            <a:extLst>
              <a:ext uri="{FF2B5EF4-FFF2-40B4-BE49-F238E27FC236}">
                <a16:creationId xmlns:a16="http://schemas.microsoft.com/office/drawing/2014/main" xmlns="" id="{FE62134B-A8A2-4FC8-B2F4-69210B41B6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898" y="1457621"/>
            <a:ext cx="1054482" cy="1054482"/>
          </a:xfrm>
          <a:prstGeom prst="rect">
            <a:avLst/>
          </a:prstGeom>
        </p:spPr>
      </p:pic>
      <p:pic>
        <p:nvPicPr>
          <p:cNvPr id="8" name="그림 7" descr="그리기, 시계이(가) 표시된 사진&#10;&#10;자동 생성된 설명">
            <a:extLst>
              <a:ext uri="{FF2B5EF4-FFF2-40B4-BE49-F238E27FC236}">
                <a16:creationId xmlns:a16="http://schemas.microsoft.com/office/drawing/2014/main" xmlns="" id="{49ECE3FE-E71F-45EB-8F19-A6E5943EDE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84" y="3660311"/>
            <a:ext cx="987744" cy="987744"/>
          </a:xfrm>
          <a:prstGeom prst="rect">
            <a:avLst/>
          </a:prstGeom>
        </p:spPr>
      </p:pic>
      <p:pic>
        <p:nvPicPr>
          <p:cNvPr id="10" name="그림 9" descr="그리기이(가) 표시된 사진&#10;&#10;자동 생성된 설명">
            <a:extLst>
              <a:ext uri="{FF2B5EF4-FFF2-40B4-BE49-F238E27FC236}">
                <a16:creationId xmlns:a16="http://schemas.microsoft.com/office/drawing/2014/main" xmlns="" id="{8C4B3D7D-08E7-4A5A-B977-BC017AD438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820" y="1487300"/>
            <a:ext cx="861774" cy="861774"/>
          </a:xfrm>
          <a:prstGeom prst="rect">
            <a:avLst/>
          </a:prstGeom>
        </p:spPr>
      </p:pic>
      <p:pic>
        <p:nvPicPr>
          <p:cNvPr id="12" name="그림 11" descr="그리기이(가) 표시된 사진&#10;&#10;자동 생성된 설명">
            <a:extLst>
              <a:ext uri="{FF2B5EF4-FFF2-40B4-BE49-F238E27FC236}">
                <a16:creationId xmlns:a16="http://schemas.microsoft.com/office/drawing/2014/main" xmlns="" id="{88980860-2161-4AD6-8825-5ABDD012A3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1503" y="3721770"/>
            <a:ext cx="819797" cy="81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88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8848344" y="6373487"/>
            <a:ext cx="2743200" cy="365125"/>
          </a:xfrm>
        </p:spPr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7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4" name="다이어그램 3">
            <a:extLst>
              <a:ext uri="{FF2B5EF4-FFF2-40B4-BE49-F238E27FC236}">
                <a16:creationId xmlns:a16="http://schemas.microsoft.com/office/drawing/2014/main" xmlns="" id="{B880ED3C-F681-4C47-B075-159BDA486B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4730904"/>
              </p:ext>
            </p:extLst>
          </p:nvPr>
        </p:nvGraphicFramePr>
        <p:xfrm>
          <a:off x="765125" y="1845456"/>
          <a:ext cx="10466395" cy="4416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모서리가 둥근 직사각형 5">
            <a:extLst>
              <a:ext uri="{FF2B5EF4-FFF2-40B4-BE49-F238E27FC236}">
                <a16:creationId xmlns:a16="http://schemas.microsoft.com/office/drawing/2014/main" xmlns="" id="{6B6C2A1F-5F76-426F-9698-F1FEF7208B96}"/>
              </a:ext>
            </a:extLst>
          </p:cNvPr>
          <p:cNvSpPr/>
          <p:nvPr/>
        </p:nvSpPr>
        <p:spPr>
          <a:xfrm>
            <a:off x="427567" y="441250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6" name="타원형 설명선 7">
            <a:extLst>
              <a:ext uri="{FF2B5EF4-FFF2-40B4-BE49-F238E27FC236}">
                <a16:creationId xmlns:a16="http://schemas.microsoft.com/office/drawing/2014/main" xmlns="" id="{AE260033-018A-4FF2-B311-907F13A4D827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3E1F08F-EE99-450C-9FFB-DDB0DBB61BEE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제목 3">
            <a:extLst>
              <a:ext uri="{FF2B5EF4-FFF2-40B4-BE49-F238E27FC236}">
                <a16:creationId xmlns:a16="http://schemas.microsoft.com/office/drawing/2014/main" xmlns="" id="{6DD87070-70DB-4792-876C-C3398448DF51}"/>
              </a:ext>
            </a:extLst>
          </p:cNvPr>
          <p:cNvSpPr txBox="1">
            <a:spLocks/>
          </p:cNvSpPr>
          <p:nvPr/>
        </p:nvSpPr>
        <p:spPr>
          <a:xfrm>
            <a:off x="993643" y="546360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0817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8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xmlns="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6680449"/>
              </p:ext>
            </p:extLst>
          </p:nvPr>
        </p:nvGraphicFramePr>
        <p:xfrm>
          <a:off x="654609" y="468206"/>
          <a:ext cx="10889323" cy="5442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C4515CC-6E39-4629-A0EC-B9A85EB62E5D}"/>
              </a:ext>
            </a:extLst>
          </p:cNvPr>
          <p:cNvSpPr txBox="1"/>
          <p:nvPr/>
        </p:nvSpPr>
        <p:spPr>
          <a:xfrm>
            <a:off x="411590" y="4684215"/>
            <a:ext cx="2304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냉장고에 재료 추가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추가된 재료 노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8EE67AE-F694-4EA0-A096-13DBB0A3BBDA}"/>
              </a:ext>
            </a:extLst>
          </p:cNvPr>
          <p:cNvSpPr txBox="1"/>
          <p:nvPr/>
        </p:nvSpPr>
        <p:spPr>
          <a:xfrm>
            <a:off x="2912005" y="4772213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재료 정보 노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01EFB88-9845-4992-8A48-303564F47112}"/>
              </a:ext>
            </a:extLst>
          </p:cNvPr>
          <p:cNvSpPr txBox="1"/>
          <p:nvPr/>
        </p:nvSpPr>
        <p:spPr>
          <a:xfrm>
            <a:off x="5024240" y="4772213"/>
            <a:ext cx="2478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가진 재료를 바탕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 추천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0AD7260-5716-4A3C-8B79-A06FA784FE95}"/>
              </a:ext>
            </a:extLst>
          </p:cNvPr>
          <p:cNvSpPr txBox="1"/>
          <p:nvPr/>
        </p:nvSpPr>
        <p:spPr>
          <a:xfrm>
            <a:off x="7502520" y="4772211"/>
            <a:ext cx="23042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냉장고 추가 기능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ex.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엄마 냉장고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9B6B22E-F685-45D4-BF42-0298F6BCAF18}"/>
              </a:ext>
            </a:extLst>
          </p:cNvPr>
          <p:cNvSpPr txBox="1"/>
          <p:nvPr/>
        </p:nvSpPr>
        <p:spPr>
          <a:xfrm>
            <a:off x="9609388" y="4772214"/>
            <a:ext cx="2478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를 보다가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체크했던 부족한 재료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보기 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3" name="모서리가 둥근 직사각형 5">
            <a:extLst>
              <a:ext uri="{FF2B5EF4-FFF2-40B4-BE49-F238E27FC236}">
                <a16:creationId xmlns:a16="http://schemas.microsoft.com/office/drawing/2014/main" xmlns="" id="{312244CA-5164-4721-AF42-F4C02D66544A}"/>
              </a:ext>
            </a:extLst>
          </p:cNvPr>
          <p:cNvSpPr/>
          <p:nvPr/>
        </p:nvSpPr>
        <p:spPr>
          <a:xfrm>
            <a:off x="470377" y="372713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4" name="타원형 설명선 7">
            <a:extLst>
              <a:ext uri="{FF2B5EF4-FFF2-40B4-BE49-F238E27FC236}">
                <a16:creationId xmlns:a16="http://schemas.microsoft.com/office/drawing/2014/main" xmlns="" id="{BD3223AA-906F-4246-A457-816202EBEC17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0A34828F-4C86-441A-BC06-683A83AD6E4E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제목 3">
            <a:extLst>
              <a:ext uri="{FF2B5EF4-FFF2-40B4-BE49-F238E27FC236}">
                <a16:creationId xmlns:a16="http://schemas.microsoft.com/office/drawing/2014/main" xmlns="" id="{3DCB8D25-3B0F-4F2D-A519-B72B4F59D959}"/>
              </a:ext>
            </a:extLst>
          </p:cNvPr>
          <p:cNvSpPr txBox="1">
            <a:spLocks/>
          </p:cNvSpPr>
          <p:nvPr/>
        </p:nvSpPr>
        <p:spPr>
          <a:xfrm>
            <a:off x="981992" y="468206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0" dirty="0"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</a:p>
        </p:txBody>
      </p:sp>
    </p:spTree>
    <p:extLst>
      <p:ext uri="{BB962C8B-B14F-4D97-AF65-F5344CB8AC3E}">
        <p14:creationId xmlns:p14="http://schemas.microsoft.com/office/powerpoint/2010/main" val="277496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2"/>
          <p:cNvSpPr>
            <a:spLocks noGrp="1"/>
          </p:cNvSpPr>
          <p:nvPr>
            <p:ph type="sldNum" sz="quarter" idx="12"/>
          </p:nvPr>
        </p:nvSpPr>
        <p:spPr>
          <a:xfrm>
            <a:off x="-277368" y="3402203"/>
            <a:ext cx="2743200" cy="365125"/>
          </a:xfrm>
        </p:spPr>
        <p:txBody>
          <a:bodyPr/>
          <a:lstStyle/>
          <a:p>
            <a:pPr defTabSz="1219170"/>
            <a:fld id="{BCF18117-6328-4BF6-B483-3F8355306CA5}" type="slidenum">
              <a:rPr lang="ko-KR" altLang="en-US">
                <a:solidFill>
                  <a:prstClr val="black">
                    <a:tint val="75000"/>
                  </a:prstClr>
                </a:solidFill>
                <a:latin typeface="맑은 고딕"/>
                <a:ea typeface="맑은 고딕" panose="020B0503020000020004" pitchFamily="50" charset="-127"/>
              </a:rPr>
              <a:pPr defTabSz="1219170"/>
              <a:t>9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8" name="제목 3"/>
          <p:cNvSpPr txBox="1">
            <a:spLocks/>
          </p:cNvSpPr>
          <p:nvPr/>
        </p:nvSpPr>
        <p:spPr>
          <a:xfrm>
            <a:off x="924233" y="332059"/>
            <a:ext cx="10382944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다음_SemiBold" pitchFamily="2" charset="-127"/>
                <a:ea typeface="다음_SemiBold" pitchFamily="2" charset="-127"/>
                <a:cs typeface="+mj-cs"/>
              </a:defRPr>
            </a:lvl1pPr>
          </a:lstStyle>
          <a:p>
            <a:pPr algn="l" defTabSz="1219170"/>
            <a:r>
              <a:rPr lang="ko-KR" altLang="en-US" sz="3733" dirty="0">
                <a:solidFill>
                  <a:prstClr val="black">
                    <a:lumMod val="85000"/>
                    <a:lumOff val="15000"/>
                  </a:prst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설계</a:t>
            </a:r>
            <a:r>
              <a:rPr lang="ko-KR" altLang="en-US" sz="3733" dirty="0">
                <a:solidFill>
                  <a:prstClr val="black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 </a:t>
            </a:r>
            <a:r>
              <a:rPr lang="ko-KR" altLang="en-US" sz="2667" dirty="0">
                <a:solidFill>
                  <a:srgbClr val="4F81BD">
                    <a:lumMod val="50000"/>
                  </a:srgb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주요 기능</a:t>
            </a:r>
            <a:endParaRPr lang="ko-KR" altLang="en-US" sz="3733" dirty="0">
              <a:solidFill>
                <a:prstClr val="black"/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  <p:graphicFrame>
        <p:nvGraphicFramePr>
          <p:cNvPr id="6" name="다이어그램 5">
            <a:extLst>
              <a:ext uri="{FF2B5EF4-FFF2-40B4-BE49-F238E27FC236}">
                <a16:creationId xmlns:a16="http://schemas.microsoft.com/office/drawing/2014/main" xmlns="" id="{D9F2CA08-6EF7-43D9-96CC-F614ADBC2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9635775"/>
              </p:ext>
            </p:extLst>
          </p:nvPr>
        </p:nvGraphicFramePr>
        <p:xfrm>
          <a:off x="95086" y="1798166"/>
          <a:ext cx="11958916" cy="2319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803CCE7-3608-45AD-A221-75375DDDE706}"/>
              </a:ext>
            </a:extLst>
          </p:cNvPr>
          <p:cNvSpPr txBox="1"/>
          <p:nvPr/>
        </p:nvSpPr>
        <p:spPr>
          <a:xfrm>
            <a:off x="1283588" y="4262257"/>
            <a:ext cx="2304256" cy="414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필요한 레시피 검색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A9D01E-92E1-40EA-ABA8-E6F8863BFE33}"/>
              </a:ext>
            </a:extLst>
          </p:cNvPr>
          <p:cNvSpPr txBox="1"/>
          <p:nvPr/>
        </p:nvSpPr>
        <p:spPr>
          <a:xfrm>
            <a:off x="3596378" y="4248150"/>
            <a:ext cx="2976331" cy="15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조회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 err="1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평점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조회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평점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댓글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,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공유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[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해먹기 귀찮아요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] 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기능으로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해당 메뉴 근처 식당 조회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25FE3CF-CF38-46CD-B83D-A0F81ECF8610}"/>
              </a:ext>
            </a:extLst>
          </p:cNvPr>
          <p:cNvSpPr txBox="1"/>
          <p:nvPr/>
        </p:nvSpPr>
        <p:spPr>
          <a:xfrm>
            <a:off x="6372153" y="4284603"/>
            <a:ext cx="2304256" cy="783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종류별 레시피 분류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 err="1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상황별</a:t>
            </a: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 레시피 분류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D3E3D67-1CEB-4988-96F5-EBC4F1D6B6F6}"/>
              </a:ext>
            </a:extLst>
          </p:cNvPr>
          <p:cNvSpPr txBox="1"/>
          <p:nvPr/>
        </p:nvSpPr>
        <p:spPr>
          <a:xfrm>
            <a:off x="8676409" y="4288999"/>
            <a:ext cx="2304256" cy="783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121917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회원이 직접</a:t>
            </a:r>
            <a: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/>
            </a:r>
            <a:br>
              <a:rPr lang="en-US" altLang="ko-KR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</a:br>
            <a:r>
              <a:rPr lang="ko-KR" altLang="en-US" sz="1600" spc="-150" dirty="0">
                <a:solidFill>
                  <a:prstClr val="black"/>
                </a:solidFill>
                <a:latin typeface="맑은 고딕"/>
                <a:ea typeface="맑은 고딕" panose="020B0503020000020004" pitchFamily="50" charset="-127"/>
              </a:rPr>
              <a:t>레시피 등록 가능</a:t>
            </a:r>
            <a:endParaRPr lang="en-US" altLang="ko-KR" sz="1600" spc="-150" dirty="0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DAB5147F-4DE9-4B5E-A182-E0F7C084B14F}"/>
              </a:ext>
            </a:extLst>
          </p:cNvPr>
          <p:cNvSpPr/>
          <p:nvPr/>
        </p:nvSpPr>
        <p:spPr>
          <a:xfrm>
            <a:off x="3331395" y="6123923"/>
            <a:ext cx="5568619" cy="365125"/>
          </a:xfrm>
          <a:prstGeom prst="rect">
            <a:avLst/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ko-KR" altLang="en-US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하단 </a:t>
            </a:r>
            <a:r>
              <a:rPr lang="en-US" altLang="ko-KR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: </a:t>
            </a:r>
            <a:r>
              <a:rPr lang="ko-KR" altLang="en-US" sz="2400" dirty="0">
                <a:solidFill>
                  <a:prstClr val="white"/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요리 팁 제공</a:t>
            </a:r>
          </a:p>
        </p:txBody>
      </p:sp>
      <p:sp>
        <p:nvSpPr>
          <p:cNvPr id="11" name="모서리가 둥근 직사각형 5">
            <a:extLst>
              <a:ext uri="{FF2B5EF4-FFF2-40B4-BE49-F238E27FC236}">
                <a16:creationId xmlns:a16="http://schemas.microsoft.com/office/drawing/2014/main" xmlns="" id="{7091C356-8963-4036-9BCB-390ACEC2C383}"/>
              </a:ext>
            </a:extLst>
          </p:cNvPr>
          <p:cNvSpPr/>
          <p:nvPr/>
        </p:nvSpPr>
        <p:spPr>
          <a:xfrm>
            <a:off x="436711" y="289993"/>
            <a:ext cx="11617291" cy="792088"/>
          </a:xfrm>
          <a:prstGeom prst="roundRect">
            <a:avLst>
              <a:gd name="adj" fmla="val 50000"/>
            </a:avLst>
          </a:prstGeom>
          <a:solidFill>
            <a:srgbClr val="F381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b="1" dirty="0"/>
          </a:p>
        </p:txBody>
      </p:sp>
      <p:sp>
        <p:nvSpPr>
          <p:cNvPr id="12" name="타원형 설명선 7">
            <a:extLst>
              <a:ext uri="{FF2B5EF4-FFF2-40B4-BE49-F238E27FC236}">
                <a16:creationId xmlns:a16="http://schemas.microsoft.com/office/drawing/2014/main" xmlns="" id="{7B813B01-645B-40BC-B848-918656E27641}"/>
              </a:ext>
            </a:extLst>
          </p:cNvPr>
          <p:cNvSpPr/>
          <p:nvPr/>
        </p:nvSpPr>
        <p:spPr>
          <a:xfrm>
            <a:off x="143339" y="162316"/>
            <a:ext cx="768085" cy="648072"/>
          </a:xfrm>
          <a:prstGeom prst="wedgeEllipseCallout">
            <a:avLst>
              <a:gd name="adj1" fmla="val 46508"/>
              <a:gd name="adj2" fmla="val 76129"/>
            </a:avLst>
          </a:prstGeom>
          <a:solidFill>
            <a:srgbClr val="625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FCE7239-C152-44DA-869B-16E1E023FD2A}"/>
              </a:ext>
            </a:extLst>
          </p:cNvPr>
          <p:cNvSpPr txBox="1"/>
          <p:nvPr/>
        </p:nvSpPr>
        <p:spPr>
          <a:xfrm>
            <a:off x="82387" y="70853"/>
            <a:ext cx="8996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  <a:endParaRPr lang="ko-KR" altLang="en-US" sz="48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제목 3">
            <a:extLst>
              <a:ext uri="{FF2B5EF4-FFF2-40B4-BE49-F238E27FC236}">
                <a16:creationId xmlns:a16="http://schemas.microsoft.com/office/drawing/2014/main" xmlns="" id="{5205A27B-18D1-44E3-9B8F-47843AC7693C}"/>
              </a:ext>
            </a:extLst>
          </p:cNvPr>
          <p:cNvSpPr txBox="1">
            <a:spLocks/>
          </p:cNvSpPr>
          <p:nvPr/>
        </p:nvSpPr>
        <p:spPr>
          <a:xfrm>
            <a:off x="911424" y="393791"/>
            <a:ext cx="8558741" cy="866417"/>
          </a:xfrm>
          <a:prstGeom prst="rect">
            <a:avLst/>
          </a:prstGeom>
        </p:spPr>
        <p:txBody>
          <a:bodyPr/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ko-KR" altLang="en-US" sz="3733" dirty="0">
                <a:solidFill>
                  <a:schemeClr val="tx1">
                    <a:lumMod val="85000"/>
                    <a:lumOff val="15000"/>
                  </a:schemeClr>
                </a:solidFill>
                <a:latin typeface="배달의민족 도현" panose="020B0600000101010101" pitchFamily="50" charset="-127"/>
                <a:ea typeface="배달의민족 도현" panose="020B0600000101010101" pitchFamily="50" charset="-127"/>
              </a:rPr>
              <a:t>메뉴 구성</a:t>
            </a:r>
            <a:endParaRPr lang="ko-KR" altLang="en-US" sz="4267" dirty="0">
              <a:solidFill>
                <a:schemeClr val="accent1">
                  <a:lumMod val="50000"/>
                </a:schemeClr>
              </a:solidFill>
              <a:latin typeface="배달의민족 도현" panose="020B0600000101010101" pitchFamily="50" charset="-127"/>
              <a:ea typeface="배달의민족 도현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2743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zx00eTN0SmF17Zv0H9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TCuWJbkWepfpp95EZ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dER.Bnm0KbH74sLf9v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Yr8s4YkqsqykBMoA0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jJImSyXEKEGCDmC.jX1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1</TotalTime>
  <Words>617</Words>
  <Application>Microsoft Office PowerPoint</Application>
  <PresentationFormat>와이드스크린</PresentationFormat>
  <Paragraphs>244</Paragraphs>
  <Slides>16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6</vt:i4>
      </vt:variant>
    </vt:vector>
  </HeadingPairs>
  <TitlesOfParts>
    <vt:vector size="23" baseType="lpstr">
      <vt:lpstr>HY엽서M</vt:lpstr>
      <vt:lpstr>맑은 고딕</vt:lpstr>
      <vt:lpstr>배달의민족 도현</vt:lpstr>
      <vt:lpstr>조선일보명조</vt:lpstr>
      <vt:lpstr>Arial</vt:lpstr>
      <vt:lpstr>Wingdings</vt:lpstr>
      <vt:lpstr>Office 테마</vt:lpstr>
      <vt:lpstr>PowerPoint 프레젠테이션</vt:lpstr>
      <vt:lpstr>PowerPoint 프레젠테이션</vt:lpstr>
      <vt:lpstr>프로젝트 의도 목적 및 필요성</vt:lpstr>
      <vt:lpstr>프로젝트 의도 기존 사례 분석 및 비교</vt:lpstr>
      <vt:lpstr>프로젝트 의도 Target 분석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패키지 구성</vt:lpstr>
      <vt:lpstr>기능 구현 - API(DB Table)</vt:lpstr>
      <vt:lpstr>출처 Data </vt:lpstr>
      <vt:lpstr>출처 API, DB </vt:lpstr>
      <vt:lpstr>PowerPoint 프레젠테이션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윤 소윤</dc:creator>
  <cp:lastModifiedBy>student</cp:lastModifiedBy>
  <cp:revision>42</cp:revision>
  <dcterms:created xsi:type="dcterms:W3CDTF">2020-01-07T10:13:55Z</dcterms:created>
  <dcterms:modified xsi:type="dcterms:W3CDTF">2020-01-08T07:45:07Z</dcterms:modified>
</cp:coreProperties>
</file>